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3"/>
  </p:notesMasterIdLst>
  <p:sldIdLst>
    <p:sldId id="2147478646" r:id="rId5"/>
    <p:sldId id="276" r:id="rId6"/>
    <p:sldId id="324" r:id="rId7"/>
    <p:sldId id="2147308028" r:id="rId8"/>
    <p:sldId id="2147478645" r:id="rId9"/>
    <p:sldId id="2147308012" r:id="rId10"/>
    <p:sldId id="2147308022" r:id="rId11"/>
    <p:sldId id="2147308053" r:id="rId12"/>
    <p:sldId id="2147478644" r:id="rId13"/>
    <p:sldId id="2147478639" r:id="rId14"/>
    <p:sldId id="2147308030" r:id="rId15"/>
    <p:sldId id="2147478640" r:id="rId16"/>
    <p:sldId id="2147478648" r:id="rId17"/>
    <p:sldId id="2147478647" r:id="rId18"/>
    <p:sldId id="2147308024" r:id="rId19"/>
    <p:sldId id="2147308038" r:id="rId20"/>
    <p:sldId id="2147308036" r:id="rId21"/>
    <p:sldId id="2147308032" r:id="rId22"/>
    <p:sldId id="2147308054" r:id="rId23"/>
    <p:sldId id="2147308055" r:id="rId24"/>
    <p:sldId id="2147308056" r:id="rId25"/>
    <p:sldId id="2147307857" r:id="rId26"/>
    <p:sldId id="2147478643" r:id="rId27"/>
    <p:sldId id="2147478642" r:id="rId28"/>
    <p:sldId id="2147308057" r:id="rId29"/>
    <p:sldId id="2147308060" r:id="rId30"/>
    <p:sldId id="2147307811" r:id="rId31"/>
    <p:sldId id="458" r:id="rId32"/>
  </p:sldIdLst>
  <p:sldSz cx="12192000" cy="6858000"/>
  <p:notesSz cx="6858000" cy="9144000"/>
  <p:custDataLst>
    <p:tags r:id="rId34"/>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ktioner" id="{6E6E6ECD-356C-4D49-9D22-22C3E7AF66C1}">
          <p14:sldIdLst/>
        </p14:section>
        <p14:section name="Tre Konsument" id="{2623BDA5-0AFC-4AB4-B892-738B0136B24D}">
          <p14:sldIdLst/>
        </p14:section>
        <p14:section name="Tre Företag" id="{B0769221-2CE1-4BA2-AAB2-8388FFB83342}">
          <p14:sldIdLst>
            <p14:sldId id="2147478646"/>
            <p14:sldId id="276"/>
            <p14:sldId id="324"/>
            <p14:sldId id="2147308028"/>
            <p14:sldId id="2147478645"/>
            <p14:sldId id="2147308012"/>
            <p14:sldId id="2147308022"/>
            <p14:sldId id="2147308053"/>
            <p14:sldId id="2147478644"/>
            <p14:sldId id="2147478639"/>
            <p14:sldId id="2147308030"/>
            <p14:sldId id="2147478640"/>
            <p14:sldId id="2147478648"/>
            <p14:sldId id="2147478647"/>
            <p14:sldId id="2147308024"/>
            <p14:sldId id="2147308038"/>
            <p14:sldId id="2147308036"/>
            <p14:sldId id="2147308032"/>
            <p14:sldId id="2147308054"/>
            <p14:sldId id="2147308055"/>
            <p14:sldId id="2147308056"/>
            <p14:sldId id="2147307857"/>
            <p14:sldId id="2147478643"/>
            <p14:sldId id="2147478642"/>
            <p14:sldId id="2147308057"/>
            <p14:sldId id="2147308060"/>
            <p14:sldId id="2147307811"/>
            <p14:sldId id="4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78E93-635E-0140-A1E3-4152926C5DF3}" v="206" dt="2024-08-20T10:25:04.329"/>
    <p1510:client id="{1438DE4F-C709-4B48-A55A-B3E73104501E}" v="14" dt="2024-08-20T09:34:27.438"/>
    <p1510:client id="{1B599707-2B37-D983-D66F-3F4C2D259C8C}" v="2" dt="2024-08-20T15:06:59.021"/>
    <p1510:client id="{ED8633CE-77CA-16ED-7786-6DA7DCA9B57F}" v="13" dt="2024-08-20T11:16:04.69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64" autoAdjust="0"/>
    <p:restoredTop sz="94621" autoAdjust="0"/>
  </p:normalViewPr>
  <p:slideViewPr>
    <p:cSldViewPr snapToGrid="0">
      <p:cViewPr varScale="1">
        <p:scale>
          <a:sx n="119" d="100"/>
          <a:sy n="119" d="100"/>
        </p:scale>
        <p:origin x="592" y="19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840F04-FFCF-4D2C-A811-B269D8796351}" type="datetimeFigureOut">
              <a:rPr lang="en-GB" smtClean="0"/>
              <a:t>20/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D92FF8-6674-4EC5-BDCC-F46F00EDFD0E}" type="slidenum">
              <a:rPr lang="en-GB" smtClean="0"/>
              <a:t>‹#›</a:t>
            </a:fld>
            <a:endParaRPr lang="en-GB"/>
          </a:p>
        </p:txBody>
      </p:sp>
    </p:spTree>
    <p:extLst>
      <p:ext uri="{BB962C8B-B14F-4D97-AF65-F5344CB8AC3E}">
        <p14:creationId xmlns:p14="http://schemas.microsoft.com/office/powerpoint/2010/main" val="3379531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BDD92FF8-6674-4EC5-BDCC-F46F00EDFD0E}" type="slidenum">
              <a:rPr lang="sv-SE" smtClean="0"/>
              <a:t>2</a:t>
            </a:fld>
            <a:endParaRPr lang="sv-SE" dirty="0"/>
          </a:p>
        </p:txBody>
      </p:sp>
    </p:spTree>
    <p:extLst>
      <p:ext uri="{BB962C8B-B14F-4D97-AF65-F5344CB8AC3E}">
        <p14:creationId xmlns:p14="http://schemas.microsoft.com/office/powerpoint/2010/main" val="1446185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Det här är nya RAM portföljen Butik och TS (KS?) ska inte ha access</a:t>
            </a:r>
          </a:p>
        </p:txBody>
      </p:sp>
      <p:sp>
        <p:nvSpPr>
          <p:cNvPr id="4" name="Slide Number Placeholder 3"/>
          <p:cNvSpPr>
            <a:spLocks noGrp="1"/>
          </p:cNvSpPr>
          <p:nvPr>
            <p:ph type="sldNum" sz="quarter" idx="5"/>
          </p:nvPr>
        </p:nvSpPr>
        <p:spPr/>
        <p:txBody>
          <a:bodyPr/>
          <a:lstStyle/>
          <a:p>
            <a:fld id="{BDD92FF8-6674-4EC5-BDCC-F46F00EDFD0E}" type="slidenum">
              <a:rPr lang="sv-SE" smtClean="0"/>
              <a:t>25</a:t>
            </a:fld>
            <a:endParaRPr lang="sv-SE"/>
          </a:p>
        </p:txBody>
      </p:sp>
    </p:spTree>
    <p:extLst>
      <p:ext uri="{BB962C8B-B14F-4D97-AF65-F5344CB8AC3E}">
        <p14:creationId xmlns:p14="http://schemas.microsoft.com/office/powerpoint/2010/main" val="261166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D5F4E-F4ED-43CD-5963-42D2B57C46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FDF0F-9E61-4F9C-4E30-286F04A48B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BD0101-A3DE-E882-3FF3-CA2E9262CA60}"/>
              </a:ext>
            </a:extLst>
          </p:cNvPr>
          <p:cNvSpPr>
            <a:spLocks noGrp="1"/>
          </p:cNvSpPr>
          <p:nvPr>
            <p:ph type="body" idx="1"/>
          </p:nvPr>
        </p:nvSpPr>
        <p:spPr/>
        <p:txBody>
          <a:bodyPr/>
          <a:lstStyle/>
          <a:p>
            <a:r>
              <a:rPr lang="en-US" sz="1200">
                <a:gradFill>
                  <a:gsLst>
                    <a:gs pos="0">
                      <a:schemeClr val="accent1"/>
                    </a:gs>
                    <a:gs pos="28000">
                      <a:schemeClr val="accent3"/>
                    </a:gs>
                    <a:gs pos="53000">
                      <a:schemeClr val="accent4"/>
                    </a:gs>
                    <a:gs pos="81000">
                      <a:schemeClr val="accent5"/>
                    </a:gs>
                    <a:gs pos="100000">
                      <a:schemeClr val="accent6"/>
                    </a:gs>
                  </a:gsLst>
                  <a:lin ang="18900000" scaled="0"/>
                </a:gradFill>
              </a:rPr>
              <a:t>Uppdaterad 2021-02-09</a:t>
            </a:r>
          </a:p>
          <a:p>
            <a:r>
              <a:rPr lang="en-US" sz="1200">
                <a:gradFill>
                  <a:gsLst>
                    <a:gs pos="0">
                      <a:schemeClr val="accent1"/>
                    </a:gs>
                    <a:gs pos="28000">
                      <a:schemeClr val="accent3"/>
                    </a:gs>
                    <a:gs pos="53000">
                      <a:schemeClr val="accent4"/>
                    </a:gs>
                    <a:gs pos="81000">
                      <a:schemeClr val="accent5"/>
                    </a:gs>
                    <a:gs pos="100000">
                      <a:schemeClr val="accent6"/>
                    </a:gs>
                  </a:gsLst>
                  <a:lin ang="18900000" scaled="0"/>
                </a:gradFill>
              </a:rPr>
              <a:t>ComHem har dubbla hastigheter på visa prispunkter, beroende på om huset är anslutet till fiberkoax eller fiberlan (kund får ej väla, endast ena prisplanen är tillgänglig)</a:t>
            </a:r>
          </a:p>
          <a:p>
            <a:r>
              <a:rPr lang="en-US" sz="1200">
                <a:gradFill>
                  <a:gsLst>
                    <a:gs pos="0">
                      <a:schemeClr val="accent1"/>
                    </a:gs>
                    <a:gs pos="28000">
                      <a:schemeClr val="accent3"/>
                    </a:gs>
                    <a:gs pos="53000">
                      <a:schemeClr val="accent4"/>
                    </a:gs>
                    <a:gs pos="81000">
                      <a:schemeClr val="accent5"/>
                    </a:gs>
                    <a:gs pos="100000">
                      <a:schemeClr val="accent6"/>
                    </a:gs>
                  </a:gsLst>
                  <a:lin ang="18900000" scaled="0"/>
                </a:gradFill>
              </a:rPr>
              <a:t>Majoriteten av konkurrenterna erbjuder ett lägre kampanjpris första året – något att titta på för oss?</a:t>
            </a:r>
            <a:endParaRPr lang="en-US" sz="1200"/>
          </a:p>
          <a:p>
            <a:endParaRPr lang="en-US"/>
          </a:p>
        </p:txBody>
      </p:sp>
      <p:sp>
        <p:nvSpPr>
          <p:cNvPr id="4" name="Slide Number Placeholder 3">
            <a:extLst>
              <a:ext uri="{FF2B5EF4-FFF2-40B4-BE49-F238E27FC236}">
                <a16:creationId xmlns:a16="http://schemas.microsoft.com/office/drawing/2014/main" id="{EE080297-BA47-0F7F-A3AD-83FA1C489B83}"/>
              </a:ext>
            </a:extLst>
          </p:cNvPr>
          <p:cNvSpPr>
            <a:spLocks noGrp="1"/>
          </p:cNvSpPr>
          <p:nvPr>
            <p:ph type="sldNum" sz="quarter" idx="5"/>
          </p:nvPr>
        </p:nvSpPr>
        <p:spPr/>
        <p:txBody>
          <a:bodyPr/>
          <a:lstStyle/>
          <a:p>
            <a:fld id="{FEADE209-C9F8-4FEA-A95A-936FF934DF41}" type="slidenum">
              <a:rPr lang="en-US" smtClean="0"/>
              <a:pPr/>
              <a:t>26</a:t>
            </a:fld>
            <a:endParaRPr lang="en-US"/>
          </a:p>
        </p:txBody>
      </p:sp>
    </p:spTree>
    <p:extLst>
      <p:ext uri="{BB962C8B-B14F-4D97-AF65-F5344CB8AC3E}">
        <p14:creationId xmlns:p14="http://schemas.microsoft.com/office/powerpoint/2010/main" val="3433773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BDD92FF8-6674-4EC5-BDCC-F46F00EDFD0E}" type="slidenum">
              <a:rPr lang="sv-SE" smtClean="0"/>
              <a:t>3</a:t>
            </a:fld>
            <a:endParaRPr lang="sv-SE" dirty="0"/>
          </a:p>
        </p:txBody>
      </p:sp>
    </p:spTree>
    <p:extLst>
      <p:ext uri="{BB962C8B-B14F-4D97-AF65-F5344CB8AC3E}">
        <p14:creationId xmlns:p14="http://schemas.microsoft.com/office/powerpoint/2010/main" val="3832368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56A8B-1081-363A-C2CF-4C6DEE8921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8D78BC-19F8-115B-B50B-FB9648D80B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162BBB-10FC-AE41-14B4-A4C3E3A2B4D8}"/>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5D96DAFA-93F4-EAFC-7485-364FE5F0DFF3}"/>
              </a:ext>
            </a:extLst>
          </p:cNvPr>
          <p:cNvSpPr>
            <a:spLocks noGrp="1"/>
          </p:cNvSpPr>
          <p:nvPr>
            <p:ph type="sldNum" sz="quarter" idx="5"/>
          </p:nvPr>
        </p:nvSpPr>
        <p:spPr/>
        <p:txBody>
          <a:bodyPr/>
          <a:lstStyle/>
          <a:p>
            <a:fld id="{BDD92FF8-6674-4EC5-BDCC-F46F00EDFD0E}" type="slidenum">
              <a:rPr lang="en-GB" smtClean="0"/>
              <a:t>5</a:t>
            </a:fld>
            <a:endParaRPr lang="en-GB"/>
          </a:p>
        </p:txBody>
      </p:sp>
    </p:spTree>
    <p:extLst>
      <p:ext uri="{BB962C8B-B14F-4D97-AF65-F5344CB8AC3E}">
        <p14:creationId xmlns:p14="http://schemas.microsoft.com/office/powerpoint/2010/main" val="3963388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8AA8FF-FBE4-EE17-B5FF-2C9271255A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8827BB-A5EE-CB96-773F-84EC27275D75}"/>
              </a:ext>
            </a:extLst>
          </p:cNvPr>
          <p:cNvSpPr txBox="1">
            <a:spLocks noGrp="1"/>
          </p:cNvSpPr>
          <p:nvPr>
            <p:ph type="body" sz="quarter" idx="1"/>
          </p:nvPr>
        </p:nvSpPr>
        <p:spPr/>
        <p:txBody>
          <a:bodyPr/>
          <a:lstStyle/>
          <a:p>
            <a:endParaRPr lang="sv-SE"/>
          </a:p>
        </p:txBody>
      </p:sp>
      <p:sp>
        <p:nvSpPr>
          <p:cNvPr id="4" name="Slide Number Placeholder 3">
            <a:extLst>
              <a:ext uri="{FF2B5EF4-FFF2-40B4-BE49-F238E27FC236}">
                <a16:creationId xmlns:a16="http://schemas.microsoft.com/office/drawing/2014/main" id="{2F48E431-A6B0-9ECE-FAA7-FAACCA5E73C6}"/>
              </a:ext>
            </a:extLst>
          </p:cNvPr>
          <p:cNvSpPr txBox="1">
            <a:spLocks noGrp="1"/>
          </p:cNvSpPr>
          <p:nvPr>
            <p:ph type="sldNum" sz="quarter" idx="8"/>
          </p:nvPr>
        </p:nvSpPr>
        <p:spPr/>
        <p:txBody>
          <a:bodyPr/>
          <a:lstStyle/>
          <a:p>
            <a:pPr lvl="0"/>
            <a:fld id="{7F839C36-E53F-4638-A14F-80D0D790460D}" type="slidenum">
              <a:t>7</a:t>
            </a:fld>
            <a:endParaRPr lang="sv-S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BDD92FF8-6674-4EC5-BDCC-F46F00EDFD0E}" type="slidenum">
              <a:rPr lang="en-GB" smtClean="0"/>
              <a:t>9</a:t>
            </a:fld>
            <a:endParaRPr lang="en-GB"/>
          </a:p>
        </p:txBody>
      </p:sp>
    </p:spTree>
    <p:extLst>
      <p:ext uri="{BB962C8B-B14F-4D97-AF65-F5344CB8AC3E}">
        <p14:creationId xmlns:p14="http://schemas.microsoft.com/office/powerpoint/2010/main" val="87541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28161-C3A5-EE8E-7535-1F470AD212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685868-27B3-0469-0C3A-A904B8EB482B}"/>
              </a:ext>
            </a:extLst>
          </p:cNvPr>
          <p:cNvSpPr txBox="1">
            <a:spLocks noGrp="1"/>
          </p:cNvSpPr>
          <p:nvPr>
            <p:ph type="body" sz="quarter" idx="1"/>
          </p:nvPr>
        </p:nvSpPr>
        <p:spPr/>
        <p:txBody>
          <a:bodyPr/>
          <a:lstStyle/>
          <a:p>
            <a:endParaRPr lang="sv-SE"/>
          </a:p>
        </p:txBody>
      </p:sp>
      <p:sp>
        <p:nvSpPr>
          <p:cNvPr id="4" name="Slide Number Placeholder 3">
            <a:extLst>
              <a:ext uri="{FF2B5EF4-FFF2-40B4-BE49-F238E27FC236}">
                <a16:creationId xmlns:a16="http://schemas.microsoft.com/office/drawing/2014/main" id="{9D5223C0-6370-2F42-B21C-7A965EC8C0F6}"/>
              </a:ext>
            </a:extLst>
          </p:cNvPr>
          <p:cNvSpPr txBox="1">
            <a:spLocks noGrp="1"/>
          </p:cNvSpPr>
          <p:nvPr>
            <p:ph type="sldNum" sz="quarter" idx="8"/>
          </p:nvPr>
        </p:nvSpPr>
        <p:spPr/>
        <p:txBody>
          <a:bodyPr/>
          <a:lstStyle/>
          <a:p>
            <a:pPr lvl="0"/>
            <a:fld id="{F6507D29-C684-46F0-B9AB-598F17048F38}" type="slidenum">
              <a:t>15</a:t>
            </a:fld>
            <a:endParaRPr lang="sv-S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6536FE-6FA1-6FE0-3AB0-5655E4D0876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7BBCE71-F3A7-B5D1-CD21-23E023EF5386}"/>
              </a:ext>
            </a:extLst>
          </p:cNvPr>
          <p:cNvSpPr txBox="1">
            <a:spLocks noGrp="1"/>
          </p:cNvSpPr>
          <p:nvPr>
            <p:ph type="body" sz="quarter" idx="1"/>
          </p:nvPr>
        </p:nvSpPr>
        <p:spPr/>
        <p:txBody>
          <a:bodyPr/>
          <a:lstStyle/>
          <a:p>
            <a:pPr lvl="0"/>
            <a:r>
              <a:rPr lang="sv-SE"/>
              <a:t>Uppdatera enligt nya lanseringsplanen</a:t>
            </a:r>
          </a:p>
        </p:txBody>
      </p:sp>
      <p:sp>
        <p:nvSpPr>
          <p:cNvPr id="4" name="Slide Number Placeholder 3">
            <a:extLst>
              <a:ext uri="{FF2B5EF4-FFF2-40B4-BE49-F238E27FC236}">
                <a16:creationId xmlns:a16="http://schemas.microsoft.com/office/drawing/2014/main" id="{891A57A6-D3AF-E332-FF36-6E38C65CCFEE}"/>
              </a:ext>
            </a:extLst>
          </p:cNvPr>
          <p:cNvSpPr txBox="1">
            <a:spLocks noGrp="1"/>
          </p:cNvSpPr>
          <p:nvPr>
            <p:ph type="sldNum" sz="quarter" idx="8"/>
          </p:nvPr>
        </p:nvSpPr>
        <p:spPr/>
        <p:txBody>
          <a:bodyPr/>
          <a:lstStyle/>
          <a:p>
            <a:pPr lvl="0"/>
            <a:fld id="{4E9C3BB0-E083-4734-AE18-CCD499DC7526}" type="slidenum">
              <a:t>20</a:t>
            </a:fld>
            <a:endParaRPr lang="sv-S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1E6D84-E011-1C4A-D9E0-FB1432201A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3428B6-34F3-24CE-9321-2CF31D2FF506}"/>
              </a:ext>
            </a:extLst>
          </p:cNvPr>
          <p:cNvSpPr txBox="1">
            <a:spLocks noGrp="1"/>
          </p:cNvSpPr>
          <p:nvPr>
            <p:ph type="body" sz="quarter" idx="1"/>
          </p:nvPr>
        </p:nvSpPr>
        <p:spPr/>
        <p:txBody>
          <a:bodyPr/>
          <a:lstStyle/>
          <a:p>
            <a:pPr lvl="0"/>
            <a:r>
              <a:rPr lang="sv-SE"/>
              <a:t>Enkla</a:t>
            </a:r>
          </a:p>
        </p:txBody>
      </p:sp>
      <p:sp>
        <p:nvSpPr>
          <p:cNvPr id="4" name="Slide Number Placeholder 3">
            <a:extLst>
              <a:ext uri="{FF2B5EF4-FFF2-40B4-BE49-F238E27FC236}">
                <a16:creationId xmlns:a16="http://schemas.microsoft.com/office/drawing/2014/main" id="{1D511ACD-0A9B-7E68-F860-9DE5C2B7B68C}"/>
              </a:ext>
            </a:extLst>
          </p:cNvPr>
          <p:cNvSpPr txBox="1">
            <a:spLocks noGrp="1"/>
          </p:cNvSpPr>
          <p:nvPr>
            <p:ph type="sldNum" sz="quarter" idx="8"/>
          </p:nvPr>
        </p:nvSpPr>
        <p:spPr/>
        <p:txBody>
          <a:bodyPr/>
          <a:lstStyle/>
          <a:p>
            <a:pPr lvl="0"/>
            <a:fld id="{1A59451B-C95F-436F-85CA-189385104922}" type="slidenum">
              <a:t>21</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BDD92FF8-6674-4EC5-BDCC-F46F00EDFD0E}" type="slidenum">
              <a:rPr lang="sv-SE" smtClean="0"/>
              <a:t>22</a:t>
            </a:fld>
            <a:endParaRPr lang="sv-SE"/>
          </a:p>
        </p:txBody>
      </p:sp>
    </p:spTree>
    <p:extLst>
      <p:ext uri="{BB962C8B-B14F-4D97-AF65-F5344CB8AC3E}">
        <p14:creationId xmlns:p14="http://schemas.microsoft.com/office/powerpoint/2010/main" val="1253479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s://www.instagram.com/3sverige/" TargetMode="External"/><Relationship Id="rId3" Type="http://schemas.openxmlformats.org/officeDocument/2006/relationships/image" Target="../media/image7.png"/><Relationship Id="rId7" Type="http://schemas.openxmlformats.org/officeDocument/2006/relationships/hyperlink" Target="https://www.facebook.com/3Sverige/"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0.svg"/><Relationship Id="rId11" Type="http://schemas.openxmlformats.org/officeDocument/2006/relationships/image" Target="../media/image6.svg"/><Relationship Id="rId5" Type="http://schemas.openxmlformats.org/officeDocument/2006/relationships/image" Target="../media/image9.png"/><Relationship Id="rId10" Type="http://schemas.openxmlformats.org/officeDocument/2006/relationships/image" Target="../media/image5.png"/><Relationship Id="rId4" Type="http://schemas.openxmlformats.org/officeDocument/2006/relationships/image" Target="../media/image8.svg"/><Relationship Id="rId9" Type="http://schemas.openxmlformats.org/officeDocument/2006/relationships/hyperlink" Target="https://www.youtube.com/user/3Sverige"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BE8614F-2751-4F27-9E58-06A6066A1F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Underrubrik 2">
            <a:extLst>
              <a:ext uri="{FF2B5EF4-FFF2-40B4-BE49-F238E27FC236}">
                <a16:creationId xmlns:a16="http://schemas.microsoft.com/office/drawing/2014/main" id="{0B04F11C-8931-4F2C-862F-B58C9926FB12}"/>
              </a:ext>
            </a:extLst>
          </p:cNvPr>
          <p:cNvSpPr>
            <a:spLocks noGrp="1"/>
          </p:cNvSpPr>
          <p:nvPr>
            <p:ph type="subTitle" idx="1"/>
          </p:nvPr>
        </p:nvSpPr>
        <p:spPr>
          <a:xfrm>
            <a:off x="803275" y="2830147"/>
            <a:ext cx="6300788" cy="2952434"/>
          </a:xfrm>
        </p:spPr>
        <p:txBody>
          <a:bodyPr anchor="b"/>
          <a:lstStyle>
            <a:lvl1pPr marL="0" indent="0" algn="l">
              <a:spcBef>
                <a:spcPts val="300"/>
              </a:spcBef>
              <a:spcAft>
                <a:spcPts val="30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8" name="Title 7">
            <a:extLst>
              <a:ext uri="{FF2B5EF4-FFF2-40B4-BE49-F238E27FC236}">
                <a16:creationId xmlns:a16="http://schemas.microsoft.com/office/drawing/2014/main" id="{343F0F76-4B95-4867-BC1B-E7E83B8CA5CB}"/>
              </a:ext>
            </a:extLst>
          </p:cNvPr>
          <p:cNvSpPr>
            <a:spLocks noGrp="1"/>
          </p:cNvSpPr>
          <p:nvPr>
            <p:ph type="title"/>
          </p:nvPr>
        </p:nvSpPr>
        <p:spPr>
          <a:xfrm>
            <a:off x="803275" y="1089024"/>
            <a:ext cx="10872784" cy="1547813"/>
          </a:xfrm>
        </p:spPr>
        <p:txBody>
          <a:bodyPr/>
          <a:lstStyle>
            <a:lvl1pPr>
              <a:defRPr sz="4000">
                <a:solidFill>
                  <a:schemeClr val="bg1"/>
                </a:solidFill>
              </a:defRPr>
            </a:lvl1p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DE1529D6-0FA1-4B8C-9806-ED5AFAB16B7F}"/>
              </a:ext>
            </a:extLst>
          </p:cNvPr>
          <p:cNvSpPr>
            <a:spLocks noGrp="1"/>
          </p:cNvSpPr>
          <p:nvPr>
            <p:ph type="dt" sz="half" idx="10"/>
          </p:nvPr>
        </p:nvSpPr>
        <p:spPr>
          <a:xfrm>
            <a:off x="803275" y="5782581"/>
            <a:ext cx="2743200" cy="383269"/>
          </a:xfrm>
        </p:spPr>
        <p:txBody>
          <a:bodyPr anchor="b"/>
          <a:lstStyle>
            <a:lvl1pPr>
              <a:defRPr sz="2000">
                <a:solidFill>
                  <a:schemeClr val="bg1"/>
                </a:solidFill>
              </a:defRPr>
            </a:lvl1pPr>
          </a:lstStyle>
          <a:p>
            <a:fld id="{6B1948D3-2E4F-41CC-9D99-59AAFE878F3F}" type="datetime1">
              <a:rPr lang="sv-SE" smtClean="0"/>
              <a:t>2024-08-20</a:t>
            </a:fld>
            <a:endParaRPr lang="sv-SE" dirty="0"/>
          </a:p>
        </p:txBody>
      </p:sp>
      <p:pic>
        <p:nvPicPr>
          <p:cNvPr id="21" name="Bild 20">
            <a:extLst>
              <a:ext uri="{FF2B5EF4-FFF2-40B4-BE49-F238E27FC236}">
                <a16:creationId xmlns:a16="http://schemas.microsoft.com/office/drawing/2014/main" id="{97977406-A510-4685-85F2-3D4841CE2A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840957" y="3703320"/>
            <a:ext cx="1629102" cy="2671035"/>
          </a:xfrm>
          <a:prstGeom prst="rect">
            <a:avLst/>
          </a:prstGeom>
        </p:spPr>
      </p:pic>
    </p:spTree>
    <p:extLst>
      <p:ext uri="{BB962C8B-B14F-4D97-AF65-F5344CB8AC3E}">
        <p14:creationId xmlns:p14="http://schemas.microsoft.com/office/powerpoint/2010/main" val="3177692620"/>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15A51B-F5FD-46C6-BB50-13243C98858E}"/>
              </a:ext>
            </a:extLst>
          </p:cNvPr>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0D17F852-2405-43B5-8AA8-1DF9E051EB6B}"/>
              </a:ext>
            </a:extLst>
          </p:cNvPr>
          <p:cNvSpPr>
            <a:spLocks noGrp="1"/>
          </p:cNvSpPr>
          <p:nvPr>
            <p:ph sz="half" idx="1"/>
          </p:nvPr>
        </p:nvSpPr>
        <p:spPr>
          <a:xfrm>
            <a:off x="803276" y="2205038"/>
            <a:ext cx="3368040" cy="39708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C4315BF-6788-4811-BD10-03E568815C6E}"/>
              </a:ext>
            </a:extLst>
          </p:cNvPr>
          <p:cNvSpPr>
            <a:spLocks noGrp="1"/>
          </p:cNvSpPr>
          <p:nvPr>
            <p:ph sz="half" idx="2"/>
          </p:nvPr>
        </p:nvSpPr>
        <p:spPr>
          <a:xfrm>
            <a:off x="4411981" y="2205038"/>
            <a:ext cx="3368040" cy="39708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7A373E6F-FEA6-4396-9482-10D86440E0DE}"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9" name="Platshållare för innehåll 3">
            <a:extLst>
              <a:ext uri="{FF2B5EF4-FFF2-40B4-BE49-F238E27FC236}">
                <a16:creationId xmlns:a16="http://schemas.microsoft.com/office/drawing/2014/main" id="{B27C40F9-20C1-4403-90A1-51F62652F80F}"/>
              </a:ext>
            </a:extLst>
          </p:cNvPr>
          <p:cNvSpPr>
            <a:spLocks noGrp="1"/>
          </p:cNvSpPr>
          <p:nvPr>
            <p:ph sz="half" idx="14"/>
          </p:nvPr>
        </p:nvSpPr>
        <p:spPr>
          <a:xfrm>
            <a:off x="8020685" y="2205038"/>
            <a:ext cx="3368040" cy="39708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149628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vå delar, 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15A51B-F5FD-46C6-BB50-13243C98858E}"/>
              </a:ext>
            </a:extLst>
          </p:cNvPr>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0D17F852-2405-43B5-8AA8-1DF9E051EB6B}"/>
              </a:ext>
            </a:extLst>
          </p:cNvPr>
          <p:cNvSpPr>
            <a:spLocks noGrp="1"/>
          </p:cNvSpPr>
          <p:nvPr>
            <p:ph sz="half" idx="1"/>
          </p:nvPr>
        </p:nvSpPr>
        <p:spPr>
          <a:xfrm>
            <a:off x="1055688" y="2205038"/>
            <a:ext cx="4824409" cy="397192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C4315BF-6788-4811-BD10-03E568815C6E}"/>
              </a:ext>
            </a:extLst>
          </p:cNvPr>
          <p:cNvSpPr>
            <a:spLocks noGrp="1"/>
          </p:cNvSpPr>
          <p:nvPr>
            <p:ph sz="half" idx="2"/>
          </p:nvPr>
        </p:nvSpPr>
        <p:spPr>
          <a:xfrm>
            <a:off x="6311902" y="2205038"/>
            <a:ext cx="4824410" cy="397192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32DE2BBD-297E-4655-A507-D6BEF421DAAD}"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cxnSp>
        <p:nvCxnSpPr>
          <p:cNvPr id="9" name="Straight Connector 8">
            <a:extLst>
              <a:ext uri="{FF2B5EF4-FFF2-40B4-BE49-F238E27FC236}">
                <a16:creationId xmlns:a16="http://schemas.microsoft.com/office/drawing/2014/main" id="{F5BA1B25-72C0-4FB3-A3C5-5C46BFB20B0C}"/>
              </a:ext>
            </a:extLst>
          </p:cNvPr>
          <p:cNvCxnSpPr>
            <a:cxnSpLocks/>
          </p:cNvCxnSpPr>
          <p:nvPr userDrawn="1"/>
        </p:nvCxnSpPr>
        <p:spPr>
          <a:xfrm>
            <a:off x="6096002" y="2205038"/>
            <a:ext cx="0" cy="396081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208478"/>
      </p:ext>
    </p:extLst>
  </p:cSld>
  <p:clrMapOvr>
    <a:masterClrMapping/>
  </p:clrMapOvr>
  <p:extLst>
    <p:ext uri="{DCECCB84-F9BA-43D5-87BE-67443E8EF086}">
      <p15:sldGuideLst xmlns:p15="http://schemas.microsoft.com/office/powerpoint/2012/main">
        <p15:guide id="1" pos="3704" userDrawn="1">
          <p15:clr>
            <a:srgbClr val="FBAE40"/>
          </p15:clr>
        </p15:guide>
        <p15:guide id="2" pos="39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vå runda bilder med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15A51B-F5FD-46C6-BB50-13243C98858E}"/>
              </a:ext>
            </a:extLst>
          </p:cNvPr>
          <p:cNvSpPr>
            <a:spLocks noGrp="1"/>
          </p:cNvSpPr>
          <p:nvPr>
            <p:ph type="title"/>
          </p:nvPr>
        </p:nvSpPr>
        <p:spPr/>
        <p:txBody>
          <a:bodyPr/>
          <a:lstStyle/>
          <a:p>
            <a:r>
              <a:rPr lang="sv-SE"/>
              <a:t>Klicka här för att ändra mall för rubrikformat</a:t>
            </a:r>
            <a:endParaRPr lang="sv-SE" dirty="0"/>
          </a:p>
        </p:txBody>
      </p:sp>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15F8644A-86D6-4894-9099-B1BFFC8E219E}"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10" name="Picture Placeholder 9">
            <a:extLst>
              <a:ext uri="{FF2B5EF4-FFF2-40B4-BE49-F238E27FC236}">
                <a16:creationId xmlns:a16="http://schemas.microsoft.com/office/drawing/2014/main" id="{9684A014-A9FC-456E-8D8E-F05D5AB55C48}"/>
              </a:ext>
            </a:extLst>
          </p:cNvPr>
          <p:cNvSpPr>
            <a:spLocks noGrp="1"/>
          </p:cNvSpPr>
          <p:nvPr>
            <p:ph type="pic" sz="quarter" idx="14"/>
          </p:nvPr>
        </p:nvSpPr>
        <p:spPr>
          <a:xfrm>
            <a:off x="2679698" y="2684556"/>
            <a:ext cx="2408240" cy="2408240"/>
          </a:xfrm>
          <a:prstGeom prst="ellipse">
            <a:avLst/>
          </a:prstGeom>
        </p:spPr>
        <p:txBody>
          <a:bodyPr/>
          <a:lstStyle/>
          <a:p>
            <a:r>
              <a:rPr lang="sv-SE"/>
              <a:t>Klicka på ikonen för att lägga till en bild</a:t>
            </a:r>
            <a:endParaRPr lang="en-GB"/>
          </a:p>
        </p:txBody>
      </p:sp>
      <p:sp>
        <p:nvSpPr>
          <p:cNvPr id="11" name="Picture Placeholder 9">
            <a:extLst>
              <a:ext uri="{FF2B5EF4-FFF2-40B4-BE49-F238E27FC236}">
                <a16:creationId xmlns:a16="http://schemas.microsoft.com/office/drawing/2014/main" id="{DCE8CAC4-0929-47C8-A319-8CE120C7C4F9}"/>
              </a:ext>
            </a:extLst>
          </p:cNvPr>
          <p:cNvSpPr>
            <a:spLocks noGrp="1"/>
          </p:cNvSpPr>
          <p:nvPr>
            <p:ph type="pic" sz="quarter" idx="15"/>
          </p:nvPr>
        </p:nvSpPr>
        <p:spPr>
          <a:xfrm>
            <a:off x="7104063" y="2684556"/>
            <a:ext cx="2408240" cy="2408240"/>
          </a:xfrm>
          <a:prstGeom prst="ellipse">
            <a:avLst/>
          </a:prstGeom>
        </p:spPr>
        <p:txBody>
          <a:bodyPr/>
          <a:lstStyle/>
          <a:p>
            <a:r>
              <a:rPr lang="sv-SE"/>
              <a:t>Klicka på ikonen för att lägga till en bild</a:t>
            </a:r>
            <a:endParaRPr lang="en-GB"/>
          </a:p>
        </p:txBody>
      </p:sp>
      <p:sp>
        <p:nvSpPr>
          <p:cNvPr id="15" name="Text Placeholder 14">
            <a:extLst>
              <a:ext uri="{FF2B5EF4-FFF2-40B4-BE49-F238E27FC236}">
                <a16:creationId xmlns:a16="http://schemas.microsoft.com/office/drawing/2014/main" id="{8AD59425-FC42-4109-AD0A-8BA962DD9377}"/>
              </a:ext>
            </a:extLst>
          </p:cNvPr>
          <p:cNvSpPr>
            <a:spLocks noGrp="1"/>
          </p:cNvSpPr>
          <p:nvPr>
            <p:ph type="body" sz="quarter" idx="16"/>
          </p:nvPr>
        </p:nvSpPr>
        <p:spPr>
          <a:xfrm>
            <a:off x="2065818" y="5274881"/>
            <a:ext cx="3636000" cy="890969"/>
          </a:xfrm>
        </p:spPr>
        <p:txBody>
          <a:bodyPr/>
          <a:lstStyle>
            <a:lvl1pPr marL="0" indent="0" algn="ctr">
              <a:buNone/>
              <a:defRPr b="1"/>
            </a:lvl1pPr>
          </a:lstStyle>
          <a:p>
            <a:pPr lvl="0"/>
            <a:r>
              <a:rPr lang="sv-SE"/>
              <a:t>Klicka här för att ändra format på bakgrundstexten</a:t>
            </a:r>
          </a:p>
        </p:txBody>
      </p:sp>
      <p:sp>
        <p:nvSpPr>
          <p:cNvPr id="16" name="Text Placeholder 14">
            <a:extLst>
              <a:ext uri="{FF2B5EF4-FFF2-40B4-BE49-F238E27FC236}">
                <a16:creationId xmlns:a16="http://schemas.microsoft.com/office/drawing/2014/main" id="{3589CC29-FB81-42F8-A516-C41A24C1FE85}"/>
              </a:ext>
            </a:extLst>
          </p:cNvPr>
          <p:cNvSpPr>
            <a:spLocks noGrp="1"/>
          </p:cNvSpPr>
          <p:nvPr>
            <p:ph type="body" sz="quarter" idx="17"/>
          </p:nvPr>
        </p:nvSpPr>
        <p:spPr>
          <a:xfrm>
            <a:off x="6492250" y="5274881"/>
            <a:ext cx="3636000" cy="890969"/>
          </a:xfrm>
        </p:spPr>
        <p:txBody>
          <a:bodyPr/>
          <a:lstStyle>
            <a:lvl1pPr marL="0" indent="0" algn="ctr">
              <a:buNone/>
              <a:defRPr b="1"/>
            </a:lvl1pPr>
          </a:lstStyle>
          <a:p>
            <a:pPr lvl="0"/>
            <a:r>
              <a:rPr lang="sv-SE"/>
              <a:t>Klicka här för att ändra format på bakgrundstexten</a:t>
            </a:r>
          </a:p>
        </p:txBody>
      </p:sp>
      <p:cxnSp>
        <p:nvCxnSpPr>
          <p:cNvPr id="13" name="Straight Connector 8">
            <a:extLst>
              <a:ext uri="{FF2B5EF4-FFF2-40B4-BE49-F238E27FC236}">
                <a16:creationId xmlns:a16="http://schemas.microsoft.com/office/drawing/2014/main" id="{4B8B2589-06FB-4A0F-8E6C-E837EF364C14}"/>
              </a:ext>
            </a:extLst>
          </p:cNvPr>
          <p:cNvCxnSpPr>
            <a:cxnSpLocks/>
          </p:cNvCxnSpPr>
          <p:nvPr userDrawn="1"/>
        </p:nvCxnSpPr>
        <p:spPr>
          <a:xfrm>
            <a:off x="6096002" y="2205038"/>
            <a:ext cx="0" cy="396081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699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runda bilder med text">
    <p:spTree>
      <p:nvGrpSpPr>
        <p:cNvPr id="1" name=""/>
        <p:cNvGrpSpPr/>
        <p:nvPr/>
      </p:nvGrpSpPr>
      <p:grpSpPr>
        <a:xfrm>
          <a:off x="0" y="0"/>
          <a:ext cx="0" cy="0"/>
          <a:chOff x="0" y="0"/>
          <a:chExt cx="0" cy="0"/>
        </a:xfrm>
      </p:grpSpPr>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5913C93A-EB4D-4308-9C62-659B63069F3B}"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10" name="Picture Placeholder 9">
            <a:extLst>
              <a:ext uri="{FF2B5EF4-FFF2-40B4-BE49-F238E27FC236}">
                <a16:creationId xmlns:a16="http://schemas.microsoft.com/office/drawing/2014/main" id="{9684A014-A9FC-456E-8D8E-F05D5AB55C48}"/>
              </a:ext>
            </a:extLst>
          </p:cNvPr>
          <p:cNvSpPr>
            <a:spLocks noGrp="1"/>
          </p:cNvSpPr>
          <p:nvPr>
            <p:ph type="pic" sz="quarter" idx="14"/>
          </p:nvPr>
        </p:nvSpPr>
        <p:spPr>
          <a:xfrm>
            <a:off x="1090612" y="2684556"/>
            <a:ext cx="2408240" cy="2408240"/>
          </a:xfrm>
          <a:prstGeom prst="ellipse">
            <a:avLst/>
          </a:prstGeom>
        </p:spPr>
        <p:txBody>
          <a:bodyPr/>
          <a:lstStyle/>
          <a:p>
            <a:r>
              <a:rPr lang="sv-SE"/>
              <a:t>Klicka på ikonen för att lägga till en bild</a:t>
            </a:r>
            <a:endParaRPr lang="en-GB"/>
          </a:p>
        </p:txBody>
      </p:sp>
      <p:sp>
        <p:nvSpPr>
          <p:cNvPr id="11" name="Picture Placeholder 9">
            <a:extLst>
              <a:ext uri="{FF2B5EF4-FFF2-40B4-BE49-F238E27FC236}">
                <a16:creationId xmlns:a16="http://schemas.microsoft.com/office/drawing/2014/main" id="{DCE8CAC4-0929-47C8-A319-8CE120C7C4F9}"/>
              </a:ext>
            </a:extLst>
          </p:cNvPr>
          <p:cNvSpPr>
            <a:spLocks noGrp="1"/>
          </p:cNvSpPr>
          <p:nvPr>
            <p:ph type="pic" sz="quarter" idx="15"/>
          </p:nvPr>
        </p:nvSpPr>
        <p:spPr>
          <a:xfrm>
            <a:off x="4891881" y="2684556"/>
            <a:ext cx="2408240" cy="2408240"/>
          </a:xfrm>
          <a:prstGeom prst="ellipse">
            <a:avLst/>
          </a:prstGeom>
        </p:spPr>
        <p:txBody>
          <a:bodyPr/>
          <a:lstStyle/>
          <a:p>
            <a:r>
              <a:rPr lang="sv-SE"/>
              <a:t>Klicka på ikonen för att lägga till en bild</a:t>
            </a:r>
            <a:endParaRPr lang="en-GB"/>
          </a:p>
        </p:txBody>
      </p:sp>
      <p:sp>
        <p:nvSpPr>
          <p:cNvPr id="15" name="Text Placeholder 14">
            <a:extLst>
              <a:ext uri="{FF2B5EF4-FFF2-40B4-BE49-F238E27FC236}">
                <a16:creationId xmlns:a16="http://schemas.microsoft.com/office/drawing/2014/main" id="{8AD59425-FC42-4109-AD0A-8BA962DD9377}"/>
              </a:ext>
            </a:extLst>
          </p:cNvPr>
          <p:cNvSpPr>
            <a:spLocks noGrp="1"/>
          </p:cNvSpPr>
          <p:nvPr>
            <p:ph type="body" sz="quarter" idx="16"/>
          </p:nvPr>
        </p:nvSpPr>
        <p:spPr>
          <a:xfrm>
            <a:off x="1055575" y="5274881"/>
            <a:ext cx="2478088" cy="900113"/>
          </a:xfrm>
        </p:spPr>
        <p:txBody>
          <a:bodyPr/>
          <a:lstStyle>
            <a:lvl1pPr marL="0" indent="0" algn="ctr">
              <a:buNone/>
              <a:defRPr b="1"/>
            </a:lvl1pPr>
          </a:lstStyle>
          <a:p>
            <a:pPr lvl="0"/>
            <a:r>
              <a:rPr lang="sv-SE"/>
              <a:t>Klicka här för att ändra format på bakgrundstexten</a:t>
            </a:r>
          </a:p>
        </p:txBody>
      </p:sp>
      <p:sp>
        <p:nvSpPr>
          <p:cNvPr id="16" name="Text Placeholder 14">
            <a:extLst>
              <a:ext uri="{FF2B5EF4-FFF2-40B4-BE49-F238E27FC236}">
                <a16:creationId xmlns:a16="http://schemas.microsoft.com/office/drawing/2014/main" id="{3589CC29-FB81-42F8-A516-C41A24C1FE85}"/>
              </a:ext>
            </a:extLst>
          </p:cNvPr>
          <p:cNvSpPr>
            <a:spLocks noGrp="1"/>
          </p:cNvSpPr>
          <p:nvPr>
            <p:ph type="body" sz="quarter" idx="17"/>
          </p:nvPr>
        </p:nvSpPr>
        <p:spPr>
          <a:xfrm>
            <a:off x="4856843" y="5274881"/>
            <a:ext cx="2478088" cy="900113"/>
          </a:xfrm>
        </p:spPr>
        <p:txBody>
          <a:bodyPr/>
          <a:lstStyle>
            <a:lvl1pPr marL="0" indent="0" algn="ctr">
              <a:buNone/>
              <a:defRPr b="1"/>
            </a:lvl1pPr>
          </a:lstStyle>
          <a:p>
            <a:pPr lvl="0"/>
            <a:r>
              <a:rPr lang="sv-SE"/>
              <a:t>Klicka här för att ändra format på bakgrundstexten</a:t>
            </a:r>
          </a:p>
        </p:txBody>
      </p:sp>
      <p:sp>
        <p:nvSpPr>
          <p:cNvPr id="14" name="Picture Placeholder 9">
            <a:extLst>
              <a:ext uri="{FF2B5EF4-FFF2-40B4-BE49-F238E27FC236}">
                <a16:creationId xmlns:a16="http://schemas.microsoft.com/office/drawing/2014/main" id="{F46DFF2A-327F-41DF-A4D2-3F9B5CCA4A28}"/>
              </a:ext>
            </a:extLst>
          </p:cNvPr>
          <p:cNvSpPr>
            <a:spLocks noGrp="1"/>
          </p:cNvSpPr>
          <p:nvPr>
            <p:ph type="pic" sz="quarter" idx="18"/>
          </p:nvPr>
        </p:nvSpPr>
        <p:spPr>
          <a:xfrm>
            <a:off x="8693149" y="2684556"/>
            <a:ext cx="2408240" cy="2408240"/>
          </a:xfrm>
          <a:prstGeom prst="ellipse">
            <a:avLst/>
          </a:prstGeom>
        </p:spPr>
        <p:txBody>
          <a:bodyPr/>
          <a:lstStyle/>
          <a:p>
            <a:r>
              <a:rPr lang="sv-SE"/>
              <a:t>Klicka på ikonen för att lägga till en bild</a:t>
            </a:r>
            <a:endParaRPr lang="en-GB"/>
          </a:p>
        </p:txBody>
      </p:sp>
      <p:grpSp>
        <p:nvGrpSpPr>
          <p:cNvPr id="2" name="Grupp 1">
            <a:extLst>
              <a:ext uri="{FF2B5EF4-FFF2-40B4-BE49-F238E27FC236}">
                <a16:creationId xmlns:a16="http://schemas.microsoft.com/office/drawing/2014/main" id="{A5451230-829C-465E-A258-61D155796357}"/>
              </a:ext>
            </a:extLst>
          </p:cNvPr>
          <p:cNvGrpSpPr/>
          <p:nvPr userDrawn="1"/>
        </p:nvGrpSpPr>
        <p:grpSpPr>
          <a:xfrm>
            <a:off x="4195366" y="2205037"/>
            <a:ext cx="3801270" cy="3960812"/>
            <a:chOff x="4195366" y="2060575"/>
            <a:chExt cx="3801270" cy="3587750"/>
          </a:xfrm>
        </p:grpSpPr>
        <p:cxnSp>
          <p:nvCxnSpPr>
            <p:cNvPr id="13" name="Straight Connector 12">
              <a:extLst>
                <a:ext uri="{FF2B5EF4-FFF2-40B4-BE49-F238E27FC236}">
                  <a16:creationId xmlns:a16="http://schemas.microsoft.com/office/drawing/2014/main" id="{EBA9E28C-9F18-4AB8-B34F-D4F91C0C14C4}"/>
                </a:ext>
              </a:extLst>
            </p:cNvPr>
            <p:cNvCxnSpPr>
              <a:cxnSpLocks/>
            </p:cNvCxnSpPr>
            <p:nvPr userDrawn="1"/>
          </p:nvCxnSpPr>
          <p:spPr>
            <a:xfrm flipH="1">
              <a:off x="7996635" y="2060575"/>
              <a:ext cx="1" cy="35877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C7F4B7F-AC69-4A3B-90B3-C77283F050D1}"/>
                </a:ext>
              </a:extLst>
            </p:cNvPr>
            <p:cNvCxnSpPr>
              <a:cxnSpLocks/>
            </p:cNvCxnSpPr>
            <p:nvPr userDrawn="1"/>
          </p:nvCxnSpPr>
          <p:spPr>
            <a:xfrm flipH="1">
              <a:off x="4195366" y="2060575"/>
              <a:ext cx="1" cy="35877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Text Placeholder 14">
            <a:extLst>
              <a:ext uri="{FF2B5EF4-FFF2-40B4-BE49-F238E27FC236}">
                <a16:creationId xmlns:a16="http://schemas.microsoft.com/office/drawing/2014/main" id="{E6F74890-30F8-4DD7-9905-50E385DFABBE}"/>
              </a:ext>
            </a:extLst>
          </p:cNvPr>
          <p:cNvSpPr>
            <a:spLocks noGrp="1"/>
          </p:cNvSpPr>
          <p:nvPr userDrawn="1">
            <p:ph type="body" sz="quarter" idx="19"/>
          </p:nvPr>
        </p:nvSpPr>
        <p:spPr>
          <a:xfrm>
            <a:off x="8658225" y="5274881"/>
            <a:ext cx="2478088" cy="900113"/>
          </a:xfrm>
        </p:spPr>
        <p:txBody>
          <a:bodyPr/>
          <a:lstStyle>
            <a:lvl1pPr marL="0" indent="0" algn="ctr">
              <a:buNone/>
              <a:defRPr b="1"/>
            </a:lvl1pPr>
          </a:lstStyle>
          <a:p>
            <a:pPr lvl="0"/>
            <a:r>
              <a:rPr lang="sv-SE"/>
              <a:t>Klicka här för att ändra format på bakgrundstexten</a:t>
            </a:r>
          </a:p>
        </p:txBody>
      </p:sp>
      <p:sp>
        <p:nvSpPr>
          <p:cNvPr id="3" name="Title 2">
            <a:extLst>
              <a:ext uri="{FF2B5EF4-FFF2-40B4-BE49-F238E27FC236}">
                <a16:creationId xmlns:a16="http://schemas.microsoft.com/office/drawing/2014/main" id="{B30DF55E-EE49-4CA3-BBA5-5080C7432507}"/>
              </a:ext>
            </a:extLst>
          </p:cNvPr>
          <p:cNvSpPr>
            <a:spLocks noGrp="1"/>
          </p:cNvSpPr>
          <p:nvPr userDrawn="1">
            <p:ph type="title"/>
          </p:nvPr>
        </p:nvSpPr>
        <p:spPr/>
        <p:txBody>
          <a:bodyPr/>
          <a:lstStyle/>
          <a:p>
            <a:r>
              <a:rPr lang="sv-SE"/>
              <a:t>Klicka här för att ändra mall för rubrikformat</a:t>
            </a:r>
            <a:endParaRPr lang="sv-SE" dirty="0"/>
          </a:p>
        </p:txBody>
      </p:sp>
    </p:spTree>
    <p:extLst>
      <p:ext uri="{BB962C8B-B14F-4D97-AF65-F5344CB8AC3E}">
        <p14:creationId xmlns:p14="http://schemas.microsoft.com/office/powerpoint/2010/main" val="407840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 block med bild och innehåll">
    <p:spTree>
      <p:nvGrpSpPr>
        <p:cNvPr id="1" name=""/>
        <p:cNvGrpSpPr/>
        <p:nvPr/>
      </p:nvGrpSpPr>
      <p:grpSpPr>
        <a:xfrm>
          <a:off x="0" y="0"/>
          <a:ext cx="0" cy="0"/>
          <a:chOff x="0" y="0"/>
          <a:chExt cx="0" cy="0"/>
        </a:xfrm>
      </p:grpSpPr>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07490464-1FC6-4A25-8B79-7D510F4F25C7}"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3" name="Title 2">
            <a:extLst>
              <a:ext uri="{FF2B5EF4-FFF2-40B4-BE49-F238E27FC236}">
                <a16:creationId xmlns:a16="http://schemas.microsoft.com/office/drawing/2014/main" id="{B30DF55E-EE49-4CA3-BBA5-5080C7432507}"/>
              </a:ext>
            </a:extLst>
          </p:cNvPr>
          <p:cNvSpPr>
            <a:spLocks noGrp="1"/>
          </p:cNvSpPr>
          <p:nvPr>
            <p:ph type="title"/>
          </p:nvPr>
        </p:nvSpPr>
        <p:spPr/>
        <p:txBody>
          <a:bodyPr/>
          <a:lstStyle/>
          <a:p>
            <a:r>
              <a:rPr lang="sv-SE"/>
              <a:t>Klicka här för att ändra mall för rubrikformat</a:t>
            </a:r>
            <a:endParaRPr lang="sv-SE" dirty="0"/>
          </a:p>
        </p:txBody>
      </p:sp>
      <p:sp>
        <p:nvSpPr>
          <p:cNvPr id="23" name="Text Placeholder 14">
            <a:extLst>
              <a:ext uri="{FF2B5EF4-FFF2-40B4-BE49-F238E27FC236}">
                <a16:creationId xmlns:a16="http://schemas.microsoft.com/office/drawing/2014/main" id="{7225973A-1964-4E4A-AA5F-974B6D09284E}"/>
              </a:ext>
            </a:extLst>
          </p:cNvPr>
          <p:cNvSpPr>
            <a:spLocks noGrp="1"/>
          </p:cNvSpPr>
          <p:nvPr>
            <p:ph type="body" sz="quarter" idx="16"/>
          </p:nvPr>
        </p:nvSpPr>
        <p:spPr>
          <a:xfrm>
            <a:off x="803274" y="1989137"/>
            <a:ext cx="3263383" cy="4176713"/>
          </a:xfrm>
          <a:prstGeom prst="roundRect">
            <a:avLst>
              <a:gd name="adj" fmla="val 1701"/>
            </a:avLst>
          </a:prstGeom>
          <a:solidFill>
            <a:schemeClr val="bg1"/>
          </a:solidFill>
          <a:effectLst>
            <a:outerShdw blurRad="63500" algn="ctr" rotWithShape="0">
              <a:prstClr val="black">
                <a:alpha val="17000"/>
              </a:prstClr>
            </a:outerShdw>
          </a:effectLst>
        </p:spPr>
        <p:txBody>
          <a:bodyPr lIns="216000" tIns="2268000" rIns="216000" bIns="216000"/>
          <a:lstStyle>
            <a:lvl1pPr marL="0" indent="0" algn="l">
              <a:buNone/>
              <a:defRPr b="0"/>
            </a:lvl1pPr>
          </a:lstStyle>
          <a:p>
            <a:pPr lvl="0"/>
            <a:r>
              <a:rPr lang="sv-SE"/>
              <a:t>Klicka här för att ändra format på bakgrundstexten</a:t>
            </a:r>
          </a:p>
        </p:txBody>
      </p:sp>
      <p:sp>
        <p:nvSpPr>
          <p:cNvPr id="24" name="Picture Placeholder 9">
            <a:extLst>
              <a:ext uri="{FF2B5EF4-FFF2-40B4-BE49-F238E27FC236}">
                <a16:creationId xmlns:a16="http://schemas.microsoft.com/office/drawing/2014/main" id="{E5CCFA16-3859-4F9D-A596-257CA587E55B}"/>
              </a:ext>
            </a:extLst>
          </p:cNvPr>
          <p:cNvSpPr>
            <a:spLocks noGrp="1"/>
          </p:cNvSpPr>
          <p:nvPr>
            <p:ph type="pic" sz="quarter" idx="14"/>
          </p:nvPr>
        </p:nvSpPr>
        <p:spPr>
          <a:xfrm>
            <a:off x="803274" y="1989137"/>
            <a:ext cx="3262869" cy="2081067"/>
          </a:xfrm>
          <a:prstGeom prst="round2SameRect">
            <a:avLst>
              <a:gd name="adj1" fmla="val 2891"/>
              <a:gd name="adj2" fmla="val 0"/>
            </a:avLst>
          </a:prstGeom>
          <a:solidFill>
            <a:schemeClr val="bg1"/>
          </a:solidFill>
        </p:spPr>
        <p:txBody>
          <a:bodyPr/>
          <a:lstStyle/>
          <a:p>
            <a:r>
              <a:rPr lang="sv-SE"/>
              <a:t>Klicka på ikonen för att lägga till en bild</a:t>
            </a:r>
            <a:endParaRPr lang="en-GB" dirty="0"/>
          </a:p>
        </p:txBody>
      </p:sp>
      <p:sp>
        <p:nvSpPr>
          <p:cNvPr id="25" name="Text Placeholder 14">
            <a:extLst>
              <a:ext uri="{FF2B5EF4-FFF2-40B4-BE49-F238E27FC236}">
                <a16:creationId xmlns:a16="http://schemas.microsoft.com/office/drawing/2014/main" id="{01BB60A8-87F0-44C0-9913-B5A4E97C3000}"/>
              </a:ext>
            </a:extLst>
          </p:cNvPr>
          <p:cNvSpPr>
            <a:spLocks noGrp="1"/>
          </p:cNvSpPr>
          <p:nvPr>
            <p:ph type="body" sz="quarter" idx="17"/>
          </p:nvPr>
        </p:nvSpPr>
        <p:spPr>
          <a:xfrm>
            <a:off x="4280228" y="1989137"/>
            <a:ext cx="3263383" cy="4176713"/>
          </a:xfrm>
          <a:prstGeom prst="roundRect">
            <a:avLst>
              <a:gd name="adj" fmla="val 1701"/>
            </a:avLst>
          </a:prstGeom>
          <a:solidFill>
            <a:schemeClr val="bg1"/>
          </a:solidFill>
          <a:effectLst>
            <a:outerShdw blurRad="63500" algn="ctr" rotWithShape="0">
              <a:prstClr val="black">
                <a:alpha val="17000"/>
              </a:prstClr>
            </a:outerShdw>
          </a:effectLst>
        </p:spPr>
        <p:txBody>
          <a:bodyPr lIns="216000" tIns="2268000" rIns="216000" bIns="216000"/>
          <a:lstStyle>
            <a:lvl1pPr marL="0" indent="0" algn="l">
              <a:buNone/>
              <a:defRPr b="0"/>
            </a:lvl1pPr>
          </a:lstStyle>
          <a:p>
            <a:pPr lvl="0"/>
            <a:r>
              <a:rPr lang="sv-SE"/>
              <a:t>Klicka här för att ändra format på bakgrundstexten</a:t>
            </a:r>
          </a:p>
        </p:txBody>
      </p:sp>
      <p:sp>
        <p:nvSpPr>
          <p:cNvPr id="26" name="Picture Placeholder 9">
            <a:extLst>
              <a:ext uri="{FF2B5EF4-FFF2-40B4-BE49-F238E27FC236}">
                <a16:creationId xmlns:a16="http://schemas.microsoft.com/office/drawing/2014/main" id="{3749D6CF-098E-4919-B248-34E1FAB154EA}"/>
              </a:ext>
            </a:extLst>
          </p:cNvPr>
          <p:cNvSpPr>
            <a:spLocks noGrp="1"/>
          </p:cNvSpPr>
          <p:nvPr>
            <p:ph type="pic" sz="quarter" idx="18"/>
          </p:nvPr>
        </p:nvSpPr>
        <p:spPr>
          <a:xfrm>
            <a:off x="4280228" y="1989137"/>
            <a:ext cx="3262869" cy="2081067"/>
          </a:xfrm>
          <a:prstGeom prst="round2SameRect">
            <a:avLst>
              <a:gd name="adj1" fmla="val 2891"/>
              <a:gd name="adj2" fmla="val 0"/>
            </a:avLst>
          </a:prstGeom>
          <a:solidFill>
            <a:schemeClr val="bg1"/>
          </a:solidFill>
        </p:spPr>
        <p:txBody>
          <a:bodyPr/>
          <a:lstStyle/>
          <a:p>
            <a:r>
              <a:rPr lang="sv-SE"/>
              <a:t>Klicka på ikonen för att lägga till en bild</a:t>
            </a:r>
            <a:endParaRPr lang="en-GB" dirty="0"/>
          </a:p>
        </p:txBody>
      </p:sp>
      <p:sp>
        <p:nvSpPr>
          <p:cNvPr id="27" name="Text Placeholder 14">
            <a:extLst>
              <a:ext uri="{FF2B5EF4-FFF2-40B4-BE49-F238E27FC236}">
                <a16:creationId xmlns:a16="http://schemas.microsoft.com/office/drawing/2014/main" id="{4010D033-410E-4CD7-9835-30CD61AED690}"/>
              </a:ext>
            </a:extLst>
          </p:cNvPr>
          <p:cNvSpPr>
            <a:spLocks noGrp="1"/>
          </p:cNvSpPr>
          <p:nvPr>
            <p:ph type="body" sz="quarter" idx="19"/>
          </p:nvPr>
        </p:nvSpPr>
        <p:spPr>
          <a:xfrm>
            <a:off x="7757183" y="1989137"/>
            <a:ext cx="3263383" cy="4176713"/>
          </a:xfrm>
          <a:prstGeom prst="roundRect">
            <a:avLst>
              <a:gd name="adj" fmla="val 1701"/>
            </a:avLst>
          </a:prstGeom>
          <a:solidFill>
            <a:schemeClr val="bg1"/>
          </a:solidFill>
          <a:effectLst>
            <a:outerShdw blurRad="63500" algn="ctr" rotWithShape="0">
              <a:prstClr val="black">
                <a:alpha val="17000"/>
              </a:prstClr>
            </a:outerShdw>
          </a:effectLst>
        </p:spPr>
        <p:txBody>
          <a:bodyPr lIns="216000" tIns="2268000" rIns="216000" bIns="216000"/>
          <a:lstStyle>
            <a:lvl1pPr marL="0" indent="0" algn="l">
              <a:buNone/>
              <a:defRPr b="0"/>
            </a:lvl1pPr>
          </a:lstStyle>
          <a:p>
            <a:pPr lvl="0"/>
            <a:r>
              <a:rPr lang="sv-SE"/>
              <a:t>Klicka här för att ändra format på bakgrundstexten</a:t>
            </a:r>
          </a:p>
        </p:txBody>
      </p:sp>
      <p:sp>
        <p:nvSpPr>
          <p:cNvPr id="28" name="Picture Placeholder 9">
            <a:extLst>
              <a:ext uri="{FF2B5EF4-FFF2-40B4-BE49-F238E27FC236}">
                <a16:creationId xmlns:a16="http://schemas.microsoft.com/office/drawing/2014/main" id="{6A51A409-DBAA-4CBD-A649-5B073CD34E64}"/>
              </a:ext>
            </a:extLst>
          </p:cNvPr>
          <p:cNvSpPr>
            <a:spLocks noGrp="1"/>
          </p:cNvSpPr>
          <p:nvPr>
            <p:ph type="pic" sz="quarter" idx="20"/>
          </p:nvPr>
        </p:nvSpPr>
        <p:spPr>
          <a:xfrm>
            <a:off x="7757183" y="1989137"/>
            <a:ext cx="3262869" cy="2081067"/>
          </a:xfrm>
          <a:prstGeom prst="round2SameRect">
            <a:avLst>
              <a:gd name="adj1" fmla="val 2891"/>
              <a:gd name="adj2" fmla="val 0"/>
            </a:avLst>
          </a:prstGeom>
          <a:solidFill>
            <a:schemeClr val="bg1"/>
          </a:solidFill>
        </p:spPr>
        <p:txBody>
          <a:bodyPr/>
          <a:lstStyle/>
          <a:p>
            <a:r>
              <a:rPr lang="sv-SE"/>
              <a:t>Klicka på ikonen för att lägga till en bild</a:t>
            </a:r>
            <a:endParaRPr lang="en-GB" dirty="0"/>
          </a:p>
        </p:txBody>
      </p:sp>
    </p:spTree>
    <p:extLst>
      <p:ext uri="{BB962C8B-B14F-4D97-AF65-F5344CB8AC3E}">
        <p14:creationId xmlns:p14="http://schemas.microsoft.com/office/powerpoint/2010/main" val="104313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vsnittsrubrik - Liggande bild">
    <p:spTree>
      <p:nvGrpSpPr>
        <p:cNvPr id="1" name=""/>
        <p:cNvGrpSpPr/>
        <p:nvPr/>
      </p:nvGrpSpPr>
      <p:grpSpPr>
        <a:xfrm>
          <a:off x="0" y="0"/>
          <a:ext cx="0" cy="0"/>
          <a:chOff x="0" y="0"/>
          <a:chExt cx="0" cy="0"/>
        </a:xfrm>
      </p:grpSpPr>
      <p:sp>
        <p:nvSpPr>
          <p:cNvPr id="25" name="Platshållare för bild 24">
            <a:extLst>
              <a:ext uri="{FF2B5EF4-FFF2-40B4-BE49-F238E27FC236}">
                <a16:creationId xmlns:a16="http://schemas.microsoft.com/office/drawing/2014/main" id="{448D895D-AB70-4BE7-956E-A3F19525DF9D}"/>
              </a:ext>
            </a:extLst>
          </p:cNvPr>
          <p:cNvSpPr>
            <a:spLocks noGrp="1"/>
          </p:cNvSpPr>
          <p:nvPr>
            <p:ph type="pic" sz="quarter" idx="18"/>
          </p:nvPr>
        </p:nvSpPr>
        <p:spPr>
          <a:xfrm>
            <a:off x="-1" y="2125310"/>
            <a:ext cx="12192000" cy="4732690"/>
          </a:xfrm>
          <a:custGeom>
            <a:avLst/>
            <a:gdLst>
              <a:gd name="connsiteX0" fmla="*/ 11691026 w 12192000"/>
              <a:gd name="connsiteY0" fmla="*/ 4385246 h 4732690"/>
              <a:gd name="connsiteX1" fmla="*/ 11691006 w 12192000"/>
              <a:gd name="connsiteY1" fmla="*/ 4393937 h 4732690"/>
              <a:gd name="connsiteX2" fmla="*/ 11672131 w 12192000"/>
              <a:gd name="connsiteY2" fmla="*/ 4413491 h 4732690"/>
              <a:gd name="connsiteX3" fmla="*/ 11657834 w 12192000"/>
              <a:gd name="connsiteY3" fmla="*/ 4402647 h 4732690"/>
              <a:gd name="connsiteX4" fmla="*/ 11671627 w 12192000"/>
              <a:gd name="connsiteY4" fmla="*/ 4390174 h 4732690"/>
              <a:gd name="connsiteX5" fmla="*/ 11691026 w 12192000"/>
              <a:gd name="connsiteY5" fmla="*/ 4385246 h 4732690"/>
              <a:gd name="connsiteX6" fmla="*/ 11763345 w 12192000"/>
              <a:gd name="connsiteY6" fmla="*/ 4357176 h 4732690"/>
              <a:gd name="connsiteX7" fmla="*/ 11783209 w 12192000"/>
              <a:gd name="connsiteY7" fmla="*/ 4383268 h 4732690"/>
              <a:gd name="connsiteX8" fmla="*/ 11763345 w 12192000"/>
              <a:gd name="connsiteY8" fmla="*/ 4406760 h 4732690"/>
              <a:gd name="connsiteX9" fmla="*/ 11744469 w 12192000"/>
              <a:gd name="connsiteY9" fmla="*/ 4381309 h 4732690"/>
              <a:gd name="connsiteX10" fmla="*/ 11763345 w 12192000"/>
              <a:gd name="connsiteY10" fmla="*/ 4357176 h 4732690"/>
              <a:gd name="connsiteX11" fmla="*/ 11531973 w 12192000"/>
              <a:gd name="connsiteY11" fmla="*/ 4357176 h 4732690"/>
              <a:gd name="connsiteX12" fmla="*/ 11550537 w 12192000"/>
              <a:gd name="connsiteY12" fmla="*/ 4375237 h 4732690"/>
              <a:gd name="connsiteX13" fmla="*/ 11512574 w 12192000"/>
              <a:gd name="connsiteY13" fmla="*/ 4375237 h 4732690"/>
              <a:gd name="connsiteX14" fmla="*/ 11531973 w 12192000"/>
              <a:gd name="connsiteY14" fmla="*/ 4357176 h 4732690"/>
              <a:gd name="connsiteX15" fmla="*/ 11383473 w 12192000"/>
              <a:gd name="connsiteY15" fmla="*/ 4357099 h 4732690"/>
              <a:gd name="connsiteX16" fmla="*/ 11404153 w 12192000"/>
              <a:gd name="connsiteY16" fmla="*/ 4384354 h 4732690"/>
              <a:gd name="connsiteX17" fmla="*/ 11383473 w 12192000"/>
              <a:gd name="connsiteY17" fmla="*/ 4411513 h 4732690"/>
              <a:gd name="connsiteX18" fmla="*/ 11362949 w 12192000"/>
              <a:gd name="connsiteY18" fmla="*/ 4384354 h 4732690"/>
              <a:gd name="connsiteX19" fmla="*/ 11383473 w 12192000"/>
              <a:gd name="connsiteY19" fmla="*/ 4357099 h 4732690"/>
              <a:gd name="connsiteX20" fmla="*/ 11757661 w 12192000"/>
              <a:gd name="connsiteY20" fmla="*/ 4339659 h 4732690"/>
              <a:gd name="connsiteX21" fmla="*/ 11721210 w 12192000"/>
              <a:gd name="connsiteY21" fmla="*/ 4381697 h 4732690"/>
              <a:gd name="connsiteX22" fmla="*/ 11757486 w 12192000"/>
              <a:gd name="connsiteY22" fmla="*/ 4424374 h 4732690"/>
              <a:gd name="connsiteX23" fmla="*/ 11782938 w 12192000"/>
              <a:gd name="connsiteY23" fmla="*/ 4411241 h 4732690"/>
              <a:gd name="connsiteX24" fmla="*/ 11783267 w 12192000"/>
              <a:gd name="connsiteY24" fmla="*/ 4411241 h 4732690"/>
              <a:gd name="connsiteX25" fmla="*/ 11783267 w 12192000"/>
              <a:gd name="connsiteY25" fmla="*/ 4422396 h 4732690"/>
              <a:gd name="connsiteX26" fmla="*/ 11764547 w 12192000"/>
              <a:gd name="connsiteY26" fmla="*/ 4443405 h 4732690"/>
              <a:gd name="connsiteX27" fmla="*/ 11747088 w 12192000"/>
              <a:gd name="connsiteY27" fmla="*/ 4431765 h 4732690"/>
              <a:gd name="connsiteX28" fmla="*/ 11723945 w 12192000"/>
              <a:gd name="connsiteY28" fmla="*/ 4431765 h 4732690"/>
              <a:gd name="connsiteX29" fmla="*/ 11761366 w 12192000"/>
              <a:gd name="connsiteY29" fmla="*/ 4459021 h 4732690"/>
              <a:gd name="connsiteX30" fmla="*/ 11805363 w 12192000"/>
              <a:gd name="connsiteY30" fmla="*/ 4421426 h 4732690"/>
              <a:gd name="connsiteX31" fmla="*/ 11805363 w 12192000"/>
              <a:gd name="connsiteY31" fmla="*/ 4341967 h 4732690"/>
              <a:gd name="connsiteX32" fmla="*/ 11783209 w 12192000"/>
              <a:gd name="connsiteY32" fmla="*/ 4341967 h 4732690"/>
              <a:gd name="connsiteX33" fmla="*/ 11783209 w 12192000"/>
              <a:gd name="connsiteY33" fmla="*/ 4353238 h 4732690"/>
              <a:gd name="connsiteX34" fmla="*/ 11782879 w 12192000"/>
              <a:gd name="connsiteY34" fmla="*/ 4353238 h 4732690"/>
              <a:gd name="connsiteX35" fmla="*/ 11757661 w 12192000"/>
              <a:gd name="connsiteY35" fmla="*/ 4339659 h 4732690"/>
              <a:gd name="connsiteX36" fmla="*/ 11677020 w 12192000"/>
              <a:gd name="connsiteY36" fmla="*/ 4339620 h 4732690"/>
              <a:gd name="connsiteX37" fmla="*/ 11637116 w 12192000"/>
              <a:gd name="connsiteY37" fmla="*/ 4368020 h 4732690"/>
              <a:gd name="connsiteX38" fmla="*/ 11660395 w 12192000"/>
              <a:gd name="connsiteY38" fmla="*/ 4368020 h 4732690"/>
              <a:gd name="connsiteX39" fmla="*/ 11675914 w 12192000"/>
              <a:gd name="connsiteY39" fmla="*/ 4355217 h 4732690"/>
              <a:gd name="connsiteX40" fmla="*/ 11691026 w 12192000"/>
              <a:gd name="connsiteY40" fmla="*/ 4366701 h 4732690"/>
              <a:gd name="connsiteX41" fmla="*/ 11663440 w 12192000"/>
              <a:gd name="connsiteY41" fmla="*/ 4377855 h 4732690"/>
              <a:gd name="connsiteX42" fmla="*/ 11634594 w 12192000"/>
              <a:gd name="connsiteY42" fmla="*/ 4403637 h 4732690"/>
              <a:gd name="connsiteX43" fmla="*/ 11663479 w 12192000"/>
              <a:gd name="connsiteY43" fmla="*/ 4429088 h 4732690"/>
              <a:gd name="connsiteX44" fmla="*/ 11692054 w 12192000"/>
              <a:gd name="connsiteY44" fmla="*/ 4418574 h 4732690"/>
              <a:gd name="connsiteX45" fmla="*/ 11693683 w 12192000"/>
              <a:gd name="connsiteY45" fmla="*/ 4426780 h 4732690"/>
              <a:gd name="connsiteX46" fmla="*/ 11717234 w 12192000"/>
              <a:gd name="connsiteY46" fmla="*/ 4426780 h 4732690"/>
              <a:gd name="connsiteX47" fmla="*/ 11714285 w 12192000"/>
              <a:gd name="connsiteY47" fmla="*/ 4407904 h 4732690"/>
              <a:gd name="connsiteX48" fmla="*/ 11714285 w 12192000"/>
              <a:gd name="connsiteY48" fmla="*/ 4363752 h 4732690"/>
              <a:gd name="connsiteX49" fmla="*/ 11677020 w 12192000"/>
              <a:gd name="connsiteY49" fmla="*/ 4339620 h 4732690"/>
              <a:gd name="connsiteX50" fmla="*/ 11532593 w 12192000"/>
              <a:gd name="connsiteY50" fmla="*/ 4339601 h 4732690"/>
              <a:gd name="connsiteX51" fmla="*/ 11489256 w 12192000"/>
              <a:gd name="connsiteY51" fmla="*/ 4384413 h 4732690"/>
              <a:gd name="connsiteX52" fmla="*/ 11532593 w 12192000"/>
              <a:gd name="connsiteY52" fmla="*/ 4429030 h 4732690"/>
              <a:gd name="connsiteX53" fmla="*/ 11572322 w 12192000"/>
              <a:gd name="connsiteY53" fmla="*/ 4400475 h 4732690"/>
              <a:gd name="connsiteX54" fmla="*/ 11551798 w 12192000"/>
              <a:gd name="connsiteY54" fmla="*/ 4400475 h 4732690"/>
              <a:gd name="connsiteX55" fmla="*/ 11533427 w 12192000"/>
              <a:gd name="connsiteY55" fmla="*/ 4411474 h 4732690"/>
              <a:gd name="connsiteX56" fmla="*/ 11512574 w 12192000"/>
              <a:gd name="connsiteY56" fmla="*/ 4389961 h 4732690"/>
              <a:gd name="connsiteX57" fmla="*/ 11573797 w 12192000"/>
              <a:gd name="connsiteY57" fmla="*/ 4389961 h 4732690"/>
              <a:gd name="connsiteX58" fmla="*/ 11532593 w 12192000"/>
              <a:gd name="connsiteY58" fmla="*/ 4339601 h 4732690"/>
              <a:gd name="connsiteX59" fmla="*/ 11484290 w 12192000"/>
              <a:gd name="connsiteY59" fmla="*/ 4339601 h 4732690"/>
              <a:gd name="connsiteX60" fmla="*/ 11457132 w 12192000"/>
              <a:gd name="connsiteY60" fmla="*/ 4357661 h 4732690"/>
              <a:gd name="connsiteX61" fmla="*/ 11456802 w 12192000"/>
              <a:gd name="connsiteY61" fmla="*/ 4357661 h 4732690"/>
              <a:gd name="connsiteX62" fmla="*/ 11456802 w 12192000"/>
              <a:gd name="connsiteY62" fmla="*/ 4341968 h 4732690"/>
              <a:gd name="connsiteX63" fmla="*/ 11434784 w 12192000"/>
              <a:gd name="connsiteY63" fmla="*/ 4341968 h 4732690"/>
              <a:gd name="connsiteX64" fmla="*/ 11434784 w 12192000"/>
              <a:gd name="connsiteY64" fmla="*/ 4426838 h 4732690"/>
              <a:gd name="connsiteX65" fmla="*/ 11458063 w 12192000"/>
              <a:gd name="connsiteY65" fmla="*/ 4426838 h 4732690"/>
              <a:gd name="connsiteX66" fmla="*/ 11458063 w 12192000"/>
              <a:gd name="connsiteY66" fmla="*/ 4388525 h 4732690"/>
              <a:gd name="connsiteX67" fmla="*/ 11481051 w 12192000"/>
              <a:gd name="connsiteY67" fmla="*/ 4361367 h 4732690"/>
              <a:gd name="connsiteX68" fmla="*/ 11489431 w 12192000"/>
              <a:gd name="connsiteY68" fmla="*/ 4362181 h 4732690"/>
              <a:gd name="connsiteX69" fmla="*/ 11489392 w 12192000"/>
              <a:gd name="connsiteY69" fmla="*/ 4340435 h 4732690"/>
              <a:gd name="connsiteX70" fmla="*/ 11484290 w 12192000"/>
              <a:gd name="connsiteY70" fmla="*/ 4339601 h 4732690"/>
              <a:gd name="connsiteX71" fmla="*/ 11383473 w 12192000"/>
              <a:gd name="connsiteY71" fmla="*/ 4339601 h 4732690"/>
              <a:gd name="connsiteX72" fmla="*/ 11339651 w 12192000"/>
              <a:gd name="connsiteY72" fmla="*/ 4384413 h 4732690"/>
              <a:gd name="connsiteX73" fmla="*/ 11383473 w 12192000"/>
              <a:gd name="connsiteY73" fmla="*/ 4429030 h 4732690"/>
              <a:gd name="connsiteX74" fmla="*/ 11427470 w 12192000"/>
              <a:gd name="connsiteY74" fmla="*/ 4384413 h 4732690"/>
              <a:gd name="connsiteX75" fmla="*/ 11383473 w 12192000"/>
              <a:gd name="connsiteY75" fmla="*/ 4339601 h 4732690"/>
              <a:gd name="connsiteX76" fmla="*/ 11589044 w 12192000"/>
              <a:gd name="connsiteY76" fmla="*/ 4316458 h 4732690"/>
              <a:gd name="connsiteX77" fmla="*/ 11589044 w 12192000"/>
              <a:gd name="connsiteY77" fmla="*/ 4341968 h 4732690"/>
              <a:gd name="connsiteX78" fmla="*/ 11574922 w 12192000"/>
              <a:gd name="connsiteY78" fmla="*/ 4341968 h 4732690"/>
              <a:gd name="connsiteX79" fmla="*/ 11574922 w 12192000"/>
              <a:gd name="connsiteY79" fmla="*/ 4357487 h 4732690"/>
              <a:gd name="connsiteX80" fmla="*/ 11589044 w 12192000"/>
              <a:gd name="connsiteY80" fmla="*/ 4357487 h 4732690"/>
              <a:gd name="connsiteX81" fmla="*/ 11589044 w 12192000"/>
              <a:gd name="connsiteY81" fmla="*/ 4407556 h 4732690"/>
              <a:gd name="connsiteX82" fmla="*/ 11615796 w 12192000"/>
              <a:gd name="connsiteY82" fmla="*/ 4427750 h 4732690"/>
              <a:gd name="connsiteX83" fmla="*/ 11629375 w 12192000"/>
              <a:gd name="connsiteY83" fmla="*/ 4426935 h 4732690"/>
              <a:gd name="connsiteX84" fmla="*/ 11629375 w 12192000"/>
              <a:gd name="connsiteY84" fmla="*/ 4408700 h 4732690"/>
              <a:gd name="connsiteX85" fmla="*/ 11622158 w 12192000"/>
              <a:gd name="connsiteY85" fmla="*/ 4409360 h 4732690"/>
              <a:gd name="connsiteX86" fmla="*/ 11612304 w 12192000"/>
              <a:gd name="connsiteY86" fmla="*/ 4399505 h 4732690"/>
              <a:gd name="connsiteX87" fmla="*/ 11612304 w 12192000"/>
              <a:gd name="connsiteY87" fmla="*/ 4357487 h 4732690"/>
              <a:gd name="connsiteX88" fmla="*/ 11629375 w 12192000"/>
              <a:gd name="connsiteY88" fmla="*/ 4357487 h 4732690"/>
              <a:gd name="connsiteX89" fmla="*/ 11629375 w 12192000"/>
              <a:gd name="connsiteY89" fmla="*/ 4341968 h 4732690"/>
              <a:gd name="connsiteX90" fmla="*/ 11612304 w 12192000"/>
              <a:gd name="connsiteY90" fmla="*/ 4341968 h 4732690"/>
              <a:gd name="connsiteX91" fmla="*/ 11612323 w 12192000"/>
              <a:gd name="connsiteY91" fmla="*/ 4316458 h 4732690"/>
              <a:gd name="connsiteX92" fmla="*/ 11389390 w 12192000"/>
              <a:gd name="connsiteY92" fmla="*/ 4309571 h 4732690"/>
              <a:gd name="connsiteX93" fmla="*/ 11389390 w 12192000"/>
              <a:gd name="connsiteY93" fmla="*/ 4328776 h 4732690"/>
              <a:gd name="connsiteX94" fmla="*/ 11411544 w 12192000"/>
              <a:gd name="connsiteY94" fmla="*/ 4328776 h 4732690"/>
              <a:gd name="connsiteX95" fmla="*/ 11411544 w 12192000"/>
              <a:gd name="connsiteY95" fmla="*/ 4309571 h 4732690"/>
              <a:gd name="connsiteX96" fmla="*/ 11355578 w 12192000"/>
              <a:gd name="connsiteY96" fmla="*/ 4309571 h 4732690"/>
              <a:gd name="connsiteX97" fmla="*/ 11355578 w 12192000"/>
              <a:gd name="connsiteY97" fmla="*/ 4328776 h 4732690"/>
              <a:gd name="connsiteX98" fmla="*/ 11377732 w 12192000"/>
              <a:gd name="connsiteY98" fmla="*/ 4328776 h 4732690"/>
              <a:gd name="connsiteX99" fmla="*/ 11377732 w 12192000"/>
              <a:gd name="connsiteY99" fmla="*/ 4309571 h 4732690"/>
              <a:gd name="connsiteX100" fmla="*/ 11257148 w 12192000"/>
              <a:gd name="connsiteY100" fmla="*/ 4309571 h 4732690"/>
              <a:gd name="connsiteX101" fmla="*/ 11257148 w 12192000"/>
              <a:gd name="connsiteY101" fmla="*/ 4426780 h 4732690"/>
              <a:gd name="connsiteX102" fmla="*/ 11282929 w 12192000"/>
              <a:gd name="connsiteY102" fmla="*/ 4426780 h 4732690"/>
              <a:gd name="connsiteX103" fmla="*/ 11282929 w 12192000"/>
              <a:gd name="connsiteY103" fmla="*/ 4378360 h 4732690"/>
              <a:gd name="connsiteX104" fmla="*/ 11332009 w 12192000"/>
              <a:gd name="connsiteY104" fmla="*/ 4378360 h 4732690"/>
              <a:gd name="connsiteX105" fmla="*/ 11332009 w 12192000"/>
              <a:gd name="connsiteY105" fmla="*/ 4358340 h 4732690"/>
              <a:gd name="connsiteX106" fmla="*/ 11282929 w 12192000"/>
              <a:gd name="connsiteY106" fmla="*/ 4358340 h 4732690"/>
              <a:gd name="connsiteX107" fmla="*/ 11282929 w 12192000"/>
              <a:gd name="connsiteY107" fmla="*/ 4331240 h 4732690"/>
              <a:gd name="connsiteX108" fmla="*/ 11339574 w 12192000"/>
              <a:gd name="connsiteY108" fmla="*/ 4331240 h 4732690"/>
              <a:gd name="connsiteX109" fmla="*/ 11339574 w 12192000"/>
              <a:gd name="connsiteY109" fmla="*/ 4309571 h 4732690"/>
              <a:gd name="connsiteX110" fmla="*/ 11587492 w 12192000"/>
              <a:gd name="connsiteY110" fmla="*/ 3925453 h 4732690"/>
              <a:gd name="connsiteX111" fmla="*/ 11707165 w 12192000"/>
              <a:gd name="connsiteY111" fmla="*/ 3995289 h 4732690"/>
              <a:gd name="connsiteX112" fmla="*/ 11678609 w 12192000"/>
              <a:gd name="connsiteY112" fmla="*/ 3990401 h 4732690"/>
              <a:gd name="connsiteX113" fmla="*/ 11663265 w 12192000"/>
              <a:gd name="connsiteY113" fmla="*/ 4009586 h 4732690"/>
              <a:gd name="connsiteX114" fmla="*/ 11667707 w 12192000"/>
              <a:gd name="connsiteY114" fmla="*/ 4028520 h 4732690"/>
              <a:gd name="connsiteX115" fmla="*/ 11676437 w 12192000"/>
              <a:gd name="connsiteY115" fmla="*/ 4073448 h 4732690"/>
              <a:gd name="connsiteX116" fmla="*/ 11659172 w 12192000"/>
              <a:gd name="connsiteY116" fmla="*/ 4130636 h 4732690"/>
              <a:gd name="connsiteX117" fmla="*/ 11648153 w 12192000"/>
              <a:gd name="connsiteY117" fmla="*/ 4092226 h 4732690"/>
              <a:gd name="connsiteX118" fmla="*/ 11635078 w 12192000"/>
              <a:gd name="connsiteY118" fmla="*/ 4085087 h 4732690"/>
              <a:gd name="connsiteX119" fmla="*/ 11621829 w 12192000"/>
              <a:gd name="connsiteY119" fmla="*/ 4091935 h 4732690"/>
              <a:gd name="connsiteX120" fmla="*/ 11611722 w 12192000"/>
              <a:gd name="connsiteY120" fmla="*/ 4108017 h 4732690"/>
              <a:gd name="connsiteX121" fmla="*/ 11517326 w 12192000"/>
              <a:gd name="connsiteY121" fmla="*/ 4185244 h 4732690"/>
              <a:gd name="connsiteX122" fmla="*/ 11525862 w 12192000"/>
              <a:gd name="connsiteY122" fmla="*/ 4157736 h 4732690"/>
              <a:gd name="connsiteX123" fmla="*/ 11524387 w 12192000"/>
              <a:gd name="connsiteY123" fmla="*/ 4149337 h 4732690"/>
              <a:gd name="connsiteX124" fmla="*/ 11513679 w 12192000"/>
              <a:gd name="connsiteY124" fmla="*/ 4141771 h 4732690"/>
              <a:gd name="connsiteX125" fmla="*/ 11513524 w 12192000"/>
              <a:gd name="connsiteY125" fmla="*/ 4141771 h 4732690"/>
              <a:gd name="connsiteX126" fmla="*/ 11489721 w 12192000"/>
              <a:gd name="connsiteY126" fmla="*/ 4146795 h 4732690"/>
              <a:gd name="connsiteX127" fmla="*/ 11439090 w 12192000"/>
              <a:gd name="connsiteY127" fmla="*/ 4155738 h 4732690"/>
              <a:gd name="connsiteX128" fmla="*/ 11375714 w 12192000"/>
              <a:gd name="connsiteY128" fmla="*/ 4133817 h 4732690"/>
              <a:gd name="connsiteX129" fmla="*/ 11395113 w 12192000"/>
              <a:gd name="connsiteY129" fmla="*/ 4125728 h 4732690"/>
              <a:gd name="connsiteX130" fmla="*/ 11401747 w 12192000"/>
              <a:gd name="connsiteY130" fmla="*/ 4112925 h 4732690"/>
              <a:gd name="connsiteX131" fmla="*/ 11389448 w 12192000"/>
              <a:gd name="connsiteY131" fmla="*/ 4094728 h 4732690"/>
              <a:gd name="connsiteX132" fmla="*/ 11368672 w 12192000"/>
              <a:gd name="connsiteY132" fmla="*/ 4057579 h 4732690"/>
              <a:gd name="connsiteX133" fmla="*/ 11371873 w 12192000"/>
              <a:gd name="connsiteY133" fmla="*/ 4040120 h 4732690"/>
              <a:gd name="connsiteX134" fmla="*/ 11380602 w 12192000"/>
              <a:gd name="connsiteY134" fmla="*/ 4055096 h 4732690"/>
              <a:gd name="connsiteX135" fmla="*/ 11400001 w 12192000"/>
              <a:gd name="connsiteY135" fmla="*/ 4065184 h 4732690"/>
              <a:gd name="connsiteX136" fmla="*/ 11413134 w 12192000"/>
              <a:gd name="connsiteY136" fmla="*/ 4057560 h 4732690"/>
              <a:gd name="connsiteX137" fmla="*/ 11414919 w 12192000"/>
              <a:gd name="connsiteY137" fmla="*/ 4044543 h 4732690"/>
              <a:gd name="connsiteX138" fmla="*/ 11420196 w 12192000"/>
              <a:gd name="connsiteY138" fmla="*/ 4032904 h 4732690"/>
              <a:gd name="connsiteX139" fmla="*/ 11432592 w 12192000"/>
              <a:gd name="connsiteY139" fmla="*/ 4027705 h 4732690"/>
              <a:gd name="connsiteX140" fmla="*/ 11456433 w 12192000"/>
              <a:gd name="connsiteY140" fmla="*/ 4042177 h 4732690"/>
              <a:gd name="connsiteX141" fmla="*/ 11464774 w 12192000"/>
              <a:gd name="connsiteY141" fmla="*/ 4073215 h 4732690"/>
              <a:gd name="connsiteX142" fmla="*/ 11461477 w 12192000"/>
              <a:gd name="connsiteY142" fmla="*/ 4091644 h 4732690"/>
              <a:gd name="connsiteX143" fmla="*/ 11459090 w 12192000"/>
              <a:gd name="connsiteY143" fmla="*/ 4097464 h 4732690"/>
              <a:gd name="connsiteX144" fmla="*/ 11463998 w 12192000"/>
              <a:gd name="connsiteY144" fmla="*/ 4093584 h 4732690"/>
              <a:gd name="connsiteX145" fmla="*/ 11483979 w 12192000"/>
              <a:gd name="connsiteY145" fmla="*/ 4068579 h 4732690"/>
              <a:gd name="connsiteX146" fmla="*/ 11491390 w 12192000"/>
              <a:gd name="connsiteY146" fmla="*/ 4068753 h 4732690"/>
              <a:gd name="connsiteX147" fmla="*/ 11491390 w 12192000"/>
              <a:gd name="connsiteY147" fmla="*/ 4068676 h 4732690"/>
              <a:gd name="connsiteX148" fmla="*/ 11567473 w 12192000"/>
              <a:gd name="connsiteY148" fmla="*/ 4041168 h 4732690"/>
              <a:gd name="connsiteX149" fmla="*/ 11600645 w 12192000"/>
              <a:gd name="connsiteY149" fmla="*/ 3962136 h 4732690"/>
              <a:gd name="connsiteX150" fmla="*/ 11587492 w 12192000"/>
              <a:gd name="connsiteY150" fmla="*/ 3925453 h 4732690"/>
              <a:gd name="connsiteX151" fmla="*/ 11538859 w 12192000"/>
              <a:gd name="connsiteY151" fmla="*/ 3640831 h 4732690"/>
              <a:gd name="connsiteX152" fmla="*/ 11522370 w 12192000"/>
              <a:gd name="connsiteY152" fmla="*/ 3676099 h 4732690"/>
              <a:gd name="connsiteX153" fmla="*/ 11525299 w 12192000"/>
              <a:gd name="connsiteY153" fmla="*/ 3683994 h 4732690"/>
              <a:gd name="connsiteX154" fmla="*/ 11535193 w 12192000"/>
              <a:gd name="connsiteY154" fmla="*/ 3687738 h 4732690"/>
              <a:gd name="connsiteX155" fmla="*/ 11561478 w 12192000"/>
              <a:gd name="connsiteY155" fmla="*/ 3681589 h 4732690"/>
              <a:gd name="connsiteX156" fmla="*/ 11607784 w 12192000"/>
              <a:gd name="connsiteY156" fmla="*/ 3672064 h 4732690"/>
              <a:gd name="connsiteX157" fmla="*/ 11656184 w 12192000"/>
              <a:gd name="connsiteY157" fmla="*/ 3687447 h 4732690"/>
              <a:gd name="connsiteX158" fmla="*/ 11629472 w 12192000"/>
              <a:gd name="connsiteY158" fmla="*/ 3696177 h 4732690"/>
              <a:gd name="connsiteX159" fmla="*/ 11621576 w 12192000"/>
              <a:gd name="connsiteY159" fmla="*/ 3710532 h 4732690"/>
              <a:gd name="connsiteX160" fmla="*/ 11631606 w 12192000"/>
              <a:gd name="connsiteY160" fmla="*/ 3727991 h 4732690"/>
              <a:gd name="connsiteX161" fmla="*/ 11652149 w 12192000"/>
              <a:gd name="connsiteY161" fmla="*/ 3772298 h 4732690"/>
              <a:gd name="connsiteX162" fmla="*/ 11637445 w 12192000"/>
              <a:gd name="connsiteY162" fmla="*/ 3816625 h 4732690"/>
              <a:gd name="connsiteX163" fmla="*/ 11637445 w 12192000"/>
              <a:gd name="connsiteY163" fmla="*/ 3813890 h 4732690"/>
              <a:gd name="connsiteX164" fmla="*/ 11629181 w 12192000"/>
              <a:gd name="connsiteY164" fmla="*/ 3784170 h 4732690"/>
              <a:gd name="connsiteX165" fmla="*/ 11615601 w 12192000"/>
              <a:gd name="connsiteY165" fmla="*/ 3777885 h 4732690"/>
              <a:gd name="connsiteX166" fmla="*/ 11587085 w 12192000"/>
              <a:gd name="connsiteY166" fmla="*/ 3794452 h 4732690"/>
              <a:gd name="connsiteX167" fmla="*/ 11555639 w 12192000"/>
              <a:gd name="connsiteY167" fmla="*/ 3818080 h 4732690"/>
              <a:gd name="connsiteX168" fmla="*/ 11451176 w 12192000"/>
              <a:gd name="connsiteY168" fmla="*/ 3867431 h 4732690"/>
              <a:gd name="connsiteX169" fmla="*/ 11441437 w 12192000"/>
              <a:gd name="connsiteY169" fmla="*/ 3858546 h 4732690"/>
              <a:gd name="connsiteX170" fmla="*/ 11485609 w 12192000"/>
              <a:gd name="connsiteY170" fmla="*/ 3826033 h 4732690"/>
              <a:gd name="connsiteX171" fmla="*/ 11522642 w 12192000"/>
              <a:gd name="connsiteY171" fmla="*/ 3800078 h 4732690"/>
              <a:gd name="connsiteX172" fmla="*/ 11538374 w 12192000"/>
              <a:gd name="connsiteY172" fmla="*/ 3773443 h 4732690"/>
              <a:gd name="connsiteX173" fmla="*/ 11529839 w 12192000"/>
              <a:gd name="connsiteY173" fmla="*/ 3753035 h 4732690"/>
              <a:gd name="connsiteX174" fmla="*/ 11479537 w 12192000"/>
              <a:gd name="connsiteY174" fmla="*/ 3735964 h 4732690"/>
              <a:gd name="connsiteX175" fmla="*/ 11402562 w 12192000"/>
              <a:gd name="connsiteY175" fmla="*/ 3733423 h 4732690"/>
              <a:gd name="connsiteX176" fmla="*/ 11394938 w 12192000"/>
              <a:gd name="connsiteY176" fmla="*/ 3733423 h 4732690"/>
              <a:gd name="connsiteX177" fmla="*/ 11339185 w 12192000"/>
              <a:gd name="connsiteY177" fmla="*/ 3732511 h 4732690"/>
              <a:gd name="connsiteX178" fmla="*/ 11408382 w 12192000"/>
              <a:gd name="connsiteY178" fmla="*/ 3698505 h 4732690"/>
              <a:gd name="connsiteX179" fmla="*/ 11538859 w 12192000"/>
              <a:gd name="connsiteY179" fmla="*/ 3640831 h 4732690"/>
              <a:gd name="connsiteX180" fmla="*/ 11560082 w 12192000"/>
              <a:gd name="connsiteY180" fmla="*/ 3581878 h 4732690"/>
              <a:gd name="connsiteX181" fmla="*/ 11686931 w 12192000"/>
              <a:gd name="connsiteY181" fmla="*/ 3620075 h 4732690"/>
              <a:gd name="connsiteX182" fmla="*/ 11726059 w 12192000"/>
              <a:gd name="connsiteY182" fmla="*/ 3706031 h 4732690"/>
              <a:gd name="connsiteX183" fmla="*/ 11686582 w 12192000"/>
              <a:gd name="connsiteY183" fmla="*/ 3815791 h 4732690"/>
              <a:gd name="connsiteX184" fmla="*/ 11674342 w 12192000"/>
              <a:gd name="connsiteY184" fmla="*/ 3840602 h 4732690"/>
              <a:gd name="connsiteX185" fmla="*/ 11681655 w 12192000"/>
              <a:gd name="connsiteY185" fmla="*/ 3855966 h 4732690"/>
              <a:gd name="connsiteX186" fmla="*/ 11700453 w 12192000"/>
              <a:gd name="connsiteY186" fmla="*/ 3871175 h 4732690"/>
              <a:gd name="connsiteX187" fmla="*/ 11782491 w 12192000"/>
              <a:gd name="connsiteY187" fmla="*/ 4009121 h 4732690"/>
              <a:gd name="connsiteX188" fmla="*/ 11696825 w 12192000"/>
              <a:gd name="connsiteY188" fmla="*/ 4180161 h 4732690"/>
              <a:gd name="connsiteX189" fmla="*/ 11520760 w 12192000"/>
              <a:gd name="connsiteY189" fmla="*/ 4237447 h 4732690"/>
              <a:gd name="connsiteX190" fmla="*/ 11279960 w 12192000"/>
              <a:gd name="connsiteY190" fmla="*/ 4062623 h 4732690"/>
              <a:gd name="connsiteX191" fmla="*/ 11307119 w 12192000"/>
              <a:gd name="connsiteY191" fmla="*/ 3991022 h 4732690"/>
              <a:gd name="connsiteX192" fmla="*/ 11381902 w 12192000"/>
              <a:gd name="connsiteY192" fmla="*/ 3958043 h 4732690"/>
              <a:gd name="connsiteX193" fmla="*/ 11440099 w 12192000"/>
              <a:gd name="connsiteY193" fmla="*/ 3974144 h 4732690"/>
              <a:gd name="connsiteX194" fmla="*/ 11471351 w 12192000"/>
              <a:gd name="connsiteY194" fmla="*/ 4037249 h 4732690"/>
              <a:gd name="connsiteX195" fmla="*/ 11471351 w 12192000"/>
              <a:gd name="connsiteY195" fmla="*/ 4040004 h 4732690"/>
              <a:gd name="connsiteX196" fmla="*/ 11464445 w 12192000"/>
              <a:gd name="connsiteY196" fmla="*/ 4028753 h 4732690"/>
              <a:gd name="connsiteX197" fmla="*/ 11432669 w 12192000"/>
              <a:gd name="connsiteY197" fmla="*/ 4013874 h 4732690"/>
              <a:gd name="connsiteX198" fmla="*/ 11401088 w 12192000"/>
              <a:gd name="connsiteY198" fmla="*/ 4044582 h 4732690"/>
              <a:gd name="connsiteX199" fmla="*/ 11400312 w 12192000"/>
              <a:gd name="connsiteY199" fmla="*/ 4050596 h 4732690"/>
              <a:gd name="connsiteX200" fmla="*/ 11399943 w 12192000"/>
              <a:gd name="connsiteY200" fmla="*/ 4051255 h 4732690"/>
              <a:gd name="connsiteX201" fmla="*/ 11386907 w 12192000"/>
              <a:gd name="connsiteY201" fmla="*/ 4042623 h 4732690"/>
              <a:gd name="connsiteX202" fmla="*/ 11380001 w 12192000"/>
              <a:gd name="connsiteY202" fmla="*/ 4017501 h 4732690"/>
              <a:gd name="connsiteX203" fmla="*/ 11380369 w 12192000"/>
              <a:gd name="connsiteY203" fmla="*/ 4010731 h 4732690"/>
              <a:gd name="connsiteX204" fmla="*/ 11380893 w 12192000"/>
              <a:gd name="connsiteY204" fmla="*/ 4005668 h 4732690"/>
              <a:gd name="connsiteX205" fmla="*/ 11377479 w 12192000"/>
              <a:gd name="connsiteY205" fmla="*/ 4009548 h 4732690"/>
              <a:gd name="connsiteX206" fmla="*/ 11355636 w 12192000"/>
              <a:gd name="connsiteY206" fmla="*/ 4057463 h 4732690"/>
              <a:gd name="connsiteX207" fmla="*/ 11380059 w 12192000"/>
              <a:gd name="connsiteY207" fmla="*/ 4104952 h 4732690"/>
              <a:gd name="connsiteX208" fmla="*/ 11385374 w 12192000"/>
              <a:gd name="connsiteY208" fmla="*/ 4110054 h 4732690"/>
              <a:gd name="connsiteX209" fmla="*/ 11387314 w 12192000"/>
              <a:gd name="connsiteY209" fmla="*/ 4112265 h 4732690"/>
              <a:gd name="connsiteX210" fmla="*/ 11387838 w 12192000"/>
              <a:gd name="connsiteY210" fmla="*/ 4113041 h 4732690"/>
              <a:gd name="connsiteX211" fmla="*/ 11387838 w 12192000"/>
              <a:gd name="connsiteY211" fmla="*/ 4113196 h 4732690"/>
              <a:gd name="connsiteX212" fmla="*/ 11381786 w 12192000"/>
              <a:gd name="connsiteY212" fmla="*/ 4117891 h 4732690"/>
              <a:gd name="connsiteX213" fmla="*/ 11359516 w 12192000"/>
              <a:gd name="connsiteY213" fmla="*/ 4121305 h 4732690"/>
              <a:gd name="connsiteX214" fmla="*/ 11347488 w 12192000"/>
              <a:gd name="connsiteY214" fmla="*/ 4120723 h 4732690"/>
              <a:gd name="connsiteX215" fmla="*/ 11343608 w 12192000"/>
              <a:gd name="connsiteY215" fmla="*/ 4120354 h 4732690"/>
              <a:gd name="connsiteX216" fmla="*/ 11346169 w 12192000"/>
              <a:gd name="connsiteY216" fmla="*/ 4123439 h 4732690"/>
              <a:gd name="connsiteX217" fmla="*/ 11439284 w 12192000"/>
              <a:gd name="connsiteY217" fmla="*/ 4169570 h 4732690"/>
              <a:gd name="connsiteX218" fmla="*/ 11493601 w 12192000"/>
              <a:gd name="connsiteY218" fmla="*/ 4160375 h 4732690"/>
              <a:gd name="connsiteX219" fmla="*/ 11509567 w 12192000"/>
              <a:gd name="connsiteY219" fmla="*/ 4156320 h 4732690"/>
              <a:gd name="connsiteX220" fmla="*/ 11511972 w 12192000"/>
              <a:gd name="connsiteY220" fmla="*/ 4157096 h 4732690"/>
              <a:gd name="connsiteX221" fmla="*/ 11512612 w 12192000"/>
              <a:gd name="connsiteY221" fmla="*/ 4159851 h 4732690"/>
              <a:gd name="connsiteX222" fmla="*/ 11505978 w 12192000"/>
              <a:gd name="connsiteY222" fmla="*/ 4179560 h 4732690"/>
              <a:gd name="connsiteX223" fmla="*/ 11489605 w 12192000"/>
              <a:gd name="connsiteY223" fmla="*/ 4201500 h 4732690"/>
              <a:gd name="connsiteX224" fmla="*/ 11485725 w 12192000"/>
              <a:gd name="connsiteY224" fmla="*/ 4205031 h 4732690"/>
              <a:gd name="connsiteX225" fmla="*/ 11490924 w 12192000"/>
              <a:gd name="connsiteY225" fmla="*/ 4204352 h 4732690"/>
              <a:gd name="connsiteX226" fmla="*/ 11623982 w 12192000"/>
              <a:gd name="connsiteY226" fmla="*/ 4114923 h 4732690"/>
              <a:gd name="connsiteX227" fmla="*/ 11630713 w 12192000"/>
              <a:gd name="connsiteY227" fmla="*/ 4103361 h 4732690"/>
              <a:gd name="connsiteX228" fmla="*/ 11635175 w 12192000"/>
              <a:gd name="connsiteY228" fmla="*/ 4099113 h 4732690"/>
              <a:gd name="connsiteX229" fmla="*/ 11638803 w 12192000"/>
              <a:gd name="connsiteY229" fmla="*/ 4102061 h 4732690"/>
              <a:gd name="connsiteX230" fmla="*/ 11646814 w 12192000"/>
              <a:gd name="connsiteY230" fmla="*/ 4141616 h 4732690"/>
              <a:gd name="connsiteX231" fmla="*/ 11644622 w 12192000"/>
              <a:gd name="connsiteY231" fmla="*/ 4163381 h 4732690"/>
              <a:gd name="connsiteX232" fmla="*/ 11643517 w 12192000"/>
              <a:gd name="connsiteY232" fmla="*/ 4168522 h 4732690"/>
              <a:gd name="connsiteX233" fmla="*/ 11647396 w 12192000"/>
              <a:gd name="connsiteY233" fmla="*/ 4164933 h 4732690"/>
              <a:gd name="connsiteX234" fmla="*/ 11690074 w 12192000"/>
              <a:gd name="connsiteY234" fmla="*/ 4074107 h 4732690"/>
              <a:gd name="connsiteX235" fmla="*/ 11680995 w 12192000"/>
              <a:gd name="connsiteY235" fmla="*/ 4024252 h 4732690"/>
              <a:gd name="connsiteX236" fmla="*/ 11677251 w 12192000"/>
              <a:gd name="connsiteY236" fmla="*/ 4009645 h 4732690"/>
              <a:gd name="connsiteX237" fmla="*/ 11678105 w 12192000"/>
              <a:gd name="connsiteY237" fmla="*/ 4005629 h 4732690"/>
              <a:gd name="connsiteX238" fmla="*/ 11680685 w 12192000"/>
              <a:gd name="connsiteY238" fmla="*/ 4004271 h 4732690"/>
              <a:gd name="connsiteX239" fmla="*/ 11731821 w 12192000"/>
              <a:gd name="connsiteY239" fmla="*/ 4018956 h 4732690"/>
              <a:gd name="connsiteX240" fmla="*/ 11735700 w 12192000"/>
              <a:gd name="connsiteY240" fmla="*/ 4020896 h 4732690"/>
              <a:gd name="connsiteX241" fmla="*/ 11733993 w 12192000"/>
              <a:gd name="connsiteY241" fmla="*/ 4016880 h 4732690"/>
              <a:gd name="connsiteX242" fmla="*/ 11586328 w 12192000"/>
              <a:gd name="connsiteY242" fmla="*/ 3910380 h 4732690"/>
              <a:gd name="connsiteX243" fmla="*/ 11502486 w 12192000"/>
              <a:gd name="connsiteY243" fmla="*/ 3894182 h 4732690"/>
              <a:gd name="connsiteX244" fmla="*/ 11502467 w 12192000"/>
              <a:gd name="connsiteY244" fmla="*/ 3894085 h 4732690"/>
              <a:gd name="connsiteX245" fmla="*/ 11457577 w 12192000"/>
              <a:gd name="connsiteY245" fmla="*/ 3883842 h 4732690"/>
              <a:gd name="connsiteX246" fmla="*/ 11452010 w 12192000"/>
              <a:gd name="connsiteY246" fmla="*/ 3881340 h 4732690"/>
              <a:gd name="connsiteX247" fmla="*/ 11563205 w 12192000"/>
              <a:gd name="connsiteY247" fmla="*/ 3829836 h 4732690"/>
              <a:gd name="connsiteX248" fmla="*/ 11595931 w 12192000"/>
              <a:gd name="connsiteY248" fmla="*/ 3805141 h 4732690"/>
              <a:gd name="connsiteX249" fmla="*/ 11607958 w 12192000"/>
              <a:gd name="connsiteY249" fmla="*/ 3795635 h 4732690"/>
              <a:gd name="connsiteX250" fmla="*/ 11615718 w 12192000"/>
              <a:gd name="connsiteY250" fmla="*/ 3791755 h 4732690"/>
              <a:gd name="connsiteX251" fmla="*/ 11619074 w 12192000"/>
              <a:gd name="connsiteY251" fmla="*/ 3793443 h 4732690"/>
              <a:gd name="connsiteX252" fmla="*/ 11624331 w 12192000"/>
              <a:gd name="connsiteY252" fmla="*/ 3817828 h 4732690"/>
              <a:gd name="connsiteX253" fmla="*/ 11621014 w 12192000"/>
              <a:gd name="connsiteY253" fmla="*/ 3843415 h 4732690"/>
              <a:gd name="connsiteX254" fmla="*/ 11619830 w 12192000"/>
              <a:gd name="connsiteY254" fmla="*/ 3847624 h 4732690"/>
              <a:gd name="connsiteX255" fmla="*/ 11623497 w 12192000"/>
              <a:gd name="connsiteY255" fmla="*/ 3845258 h 4732690"/>
              <a:gd name="connsiteX256" fmla="*/ 11666175 w 12192000"/>
              <a:gd name="connsiteY256" fmla="*/ 3772221 h 4732690"/>
              <a:gd name="connsiteX257" fmla="*/ 11642081 w 12192000"/>
              <a:gd name="connsiteY257" fmla="*/ 3718738 h 4732690"/>
              <a:gd name="connsiteX258" fmla="*/ 11637580 w 12192000"/>
              <a:gd name="connsiteY258" fmla="*/ 3713500 h 4732690"/>
              <a:gd name="connsiteX259" fmla="*/ 11635369 w 12192000"/>
              <a:gd name="connsiteY259" fmla="*/ 3710299 h 4732690"/>
              <a:gd name="connsiteX260" fmla="*/ 11637988 w 12192000"/>
              <a:gd name="connsiteY260" fmla="*/ 3707118 h 4732690"/>
              <a:gd name="connsiteX261" fmla="*/ 11666310 w 12192000"/>
              <a:gd name="connsiteY261" fmla="*/ 3699785 h 4732690"/>
              <a:gd name="connsiteX262" fmla="*/ 11685535 w 12192000"/>
              <a:gd name="connsiteY262" fmla="*/ 3702035 h 4732690"/>
              <a:gd name="connsiteX263" fmla="*/ 11690055 w 12192000"/>
              <a:gd name="connsiteY263" fmla="*/ 3703063 h 4732690"/>
              <a:gd name="connsiteX264" fmla="*/ 11687203 w 12192000"/>
              <a:gd name="connsiteY264" fmla="*/ 3699397 h 4732690"/>
              <a:gd name="connsiteX265" fmla="*/ 11608424 w 12192000"/>
              <a:gd name="connsiteY265" fmla="*/ 3658349 h 4732690"/>
              <a:gd name="connsiteX266" fmla="*/ 11557075 w 12192000"/>
              <a:gd name="connsiteY266" fmla="*/ 3668262 h 4732690"/>
              <a:gd name="connsiteX267" fmla="*/ 11537889 w 12192000"/>
              <a:gd name="connsiteY267" fmla="*/ 3673092 h 4732690"/>
              <a:gd name="connsiteX268" fmla="*/ 11536842 w 12192000"/>
              <a:gd name="connsiteY268" fmla="*/ 3672995 h 4732690"/>
              <a:gd name="connsiteX269" fmla="*/ 11546657 w 12192000"/>
              <a:gd name="connsiteY269" fmla="*/ 3652199 h 4732690"/>
              <a:gd name="connsiteX270" fmla="*/ 11575116 w 12192000"/>
              <a:gd name="connsiteY270" fmla="*/ 3627175 h 4732690"/>
              <a:gd name="connsiteX271" fmla="*/ 11579597 w 12192000"/>
              <a:gd name="connsiteY271" fmla="*/ 3624478 h 4732690"/>
              <a:gd name="connsiteX272" fmla="*/ 11574456 w 12192000"/>
              <a:gd name="connsiteY272" fmla="*/ 3624206 h 4732690"/>
              <a:gd name="connsiteX273" fmla="*/ 11567492 w 12192000"/>
              <a:gd name="connsiteY273" fmla="*/ 3623954 h 4732690"/>
              <a:gd name="connsiteX274" fmla="*/ 11401805 w 12192000"/>
              <a:gd name="connsiteY274" fmla="*/ 3686283 h 4732690"/>
              <a:gd name="connsiteX275" fmla="*/ 11288670 w 12192000"/>
              <a:gd name="connsiteY275" fmla="*/ 3727409 h 4732690"/>
              <a:gd name="connsiteX276" fmla="*/ 11283413 w 12192000"/>
              <a:gd name="connsiteY276" fmla="*/ 3720387 h 4732690"/>
              <a:gd name="connsiteX277" fmla="*/ 11306265 w 12192000"/>
              <a:gd name="connsiteY277" fmla="*/ 3683684 h 4732690"/>
              <a:gd name="connsiteX278" fmla="*/ 11560082 w 12192000"/>
              <a:gd name="connsiteY278" fmla="*/ 3581878 h 4732690"/>
              <a:gd name="connsiteX279" fmla="*/ 11560082 w 12192000"/>
              <a:gd name="connsiteY279" fmla="*/ 3558250 h 4732690"/>
              <a:gd name="connsiteX280" fmla="*/ 11355248 w 12192000"/>
              <a:gd name="connsiteY280" fmla="*/ 3617960 h 4732690"/>
              <a:gd name="connsiteX281" fmla="*/ 11286090 w 12192000"/>
              <a:gd name="connsiteY281" fmla="*/ 3671191 h 4732690"/>
              <a:gd name="connsiteX282" fmla="*/ 11259863 w 12192000"/>
              <a:gd name="connsiteY282" fmla="*/ 3720367 h 4732690"/>
              <a:gd name="connsiteX283" fmla="*/ 11267720 w 12192000"/>
              <a:gd name="connsiteY283" fmla="*/ 3739010 h 4732690"/>
              <a:gd name="connsiteX284" fmla="*/ 11315014 w 12192000"/>
              <a:gd name="connsiteY284" fmla="*/ 3754820 h 4732690"/>
              <a:gd name="connsiteX285" fmla="*/ 11390088 w 12192000"/>
              <a:gd name="connsiteY285" fmla="*/ 3757128 h 4732690"/>
              <a:gd name="connsiteX286" fmla="*/ 11395074 w 12192000"/>
              <a:gd name="connsiteY286" fmla="*/ 3757128 h 4732690"/>
              <a:gd name="connsiteX287" fmla="*/ 11487898 w 12192000"/>
              <a:gd name="connsiteY287" fmla="*/ 3761008 h 4732690"/>
              <a:gd name="connsiteX288" fmla="*/ 11508907 w 12192000"/>
              <a:gd name="connsiteY288" fmla="*/ 3766478 h 4732690"/>
              <a:gd name="connsiteX289" fmla="*/ 11514727 w 12192000"/>
              <a:gd name="connsiteY289" fmla="*/ 3773346 h 4732690"/>
              <a:gd name="connsiteX290" fmla="*/ 11510963 w 12192000"/>
              <a:gd name="connsiteY290" fmla="*/ 3779165 h 4732690"/>
              <a:gd name="connsiteX291" fmla="*/ 11455346 w 12192000"/>
              <a:gd name="connsiteY291" fmla="*/ 3817478 h 4732690"/>
              <a:gd name="connsiteX292" fmla="*/ 11426248 w 12192000"/>
              <a:gd name="connsiteY292" fmla="*/ 3841242 h 4732690"/>
              <a:gd name="connsiteX293" fmla="*/ 11413231 w 12192000"/>
              <a:gd name="connsiteY293" fmla="*/ 3866344 h 4732690"/>
              <a:gd name="connsiteX294" fmla="*/ 11413231 w 12192000"/>
              <a:gd name="connsiteY294" fmla="*/ 3866752 h 4732690"/>
              <a:gd name="connsiteX295" fmla="*/ 11427936 w 12192000"/>
              <a:gd name="connsiteY295" fmla="*/ 3893231 h 4732690"/>
              <a:gd name="connsiteX296" fmla="*/ 11538762 w 12192000"/>
              <a:gd name="connsiteY296" fmla="*/ 3924270 h 4732690"/>
              <a:gd name="connsiteX297" fmla="*/ 11571158 w 12192000"/>
              <a:gd name="connsiteY297" fmla="*/ 3940739 h 4732690"/>
              <a:gd name="connsiteX298" fmla="*/ 11577211 w 12192000"/>
              <a:gd name="connsiteY298" fmla="*/ 3961981 h 4732690"/>
              <a:gd name="connsiteX299" fmla="*/ 11551507 w 12192000"/>
              <a:gd name="connsiteY299" fmla="*/ 4023573 h 4732690"/>
              <a:gd name="connsiteX300" fmla="*/ 11493407 w 12192000"/>
              <a:gd name="connsiteY300" fmla="*/ 4045804 h 4732690"/>
              <a:gd name="connsiteX301" fmla="*/ 11490342 w 12192000"/>
              <a:gd name="connsiteY301" fmla="*/ 4045804 h 4732690"/>
              <a:gd name="connsiteX302" fmla="*/ 11491254 w 12192000"/>
              <a:gd name="connsiteY302" fmla="*/ 4031333 h 4732690"/>
              <a:gd name="connsiteX303" fmla="*/ 11460254 w 12192000"/>
              <a:gd name="connsiteY303" fmla="*/ 3961186 h 4732690"/>
              <a:gd name="connsiteX304" fmla="*/ 11381689 w 12192000"/>
              <a:gd name="connsiteY304" fmla="*/ 3934803 h 4732690"/>
              <a:gd name="connsiteX305" fmla="*/ 11289563 w 12192000"/>
              <a:gd name="connsiteY305" fmla="*/ 3975173 h 4732690"/>
              <a:gd name="connsiteX306" fmla="*/ 11256313 w 12192000"/>
              <a:gd name="connsiteY306" fmla="*/ 4062623 h 4732690"/>
              <a:gd name="connsiteX307" fmla="*/ 11323608 w 12192000"/>
              <a:gd name="connsiteY307" fmla="*/ 4199037 h 4732690"/>
              <a:gd name="connsiteX308" fmla="*/ 11520760 w 12192000"/>
              <a:gd name="connsiteY308" fmla="*/ 4261113 h 4732690"/>
              <a:gd name="connsiteX309" fmla="*/ 11710967 w 12192000"/>
              <a:gd name="connsiteY309" fmla="*/ 4199037 h 4732690"/>
              <a:gd name="connsiteX310" fmla="*/ 11806196 w 12192000"/>
              <a:gd name="connsiteY310" fmla="*/ 4009043 h 4732690"/>
              <a:gd name="connsiteX311" fmla="*/ 11714556 w 12192000"/>
              <a:gd name="connsiteY311" fmla="*/ 3852164 h 4732690"/>
              <a:gd name="connsiteX312" fmla="*/ 11699036 w 12192000"/>
              <a:gd name="connsiteY312" fmla="*/ 3839904 h 4732690"/>
              <a:gd name="connsiteX313" fmla="*/ 11706195 w 12192000"/>
              <a:gd name="connsiteY313" fmla="*/ 3829001 h 4732690"/>
              <a:gd name="connsiteX314" fmla="*/ 11749842 w 12192000"/>
              <a:gd name="connsiteY314" fmla="*/ 3705973 h 4732690"/>
              <a:gd name="connsiteX315" fmla="*/ 11707339 w 12192000"/>
              <a:gd name="connsiteY315" fmla="*/ 3606379 h 4732690"/>
              <a:gd name="connsiteX316" fmla="*/ 11560082 w 12192000"/>
              <a:gd name="connsiteY316" fmla="*/ 3558250 h 4732690"/>
              <a:gd name="connsiteX317" fmla="*/ 0 w 12192000"/>
              <a:gd name="connsiteY317" fmla="*/ 0 h 4732690"/>
              <a:gd name="connsiteX318" fmla="*/ 12192000 w 12192000"/>
              <a:gd name="connsiteY318" fmla="*/ 0 h 4732690"/>
              <a:gd name="connsiteX319" fmla="*/ 12192000 w 12192000"/>
              <a:gd name="connsiteY319" fmla="*/ 4732690 h 4732690"/>
              <a:gd name="connsiteX320" fmla="*/ 5087938 w 12192000"/>
              <a:gd name="connsiteY320" fmla="*/ 4732690 h 4732690"/>
              <a:gd name="connsiteX321" fmla="*/ 5087938 w 12192000"/>
              <a:gd name="connsiteY321" fmla="*/ 4732687 h 4732690"/>
              <a:gd name="connsiteX322" fmla="*/ 0 w 12192000"/>
              <a:gd name="connsiteY322" fmla="*/ 4732687 h 473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12192000" h="4732690">
                <a:moveTo>
                  <a:pt x="11691026" y="4385246"/>
                </a:moveTo>
                <a:lnTo>
                  <a:pt x="11691006" y="4393937"/>
                </a:lnTo>
                <a:cubicBezTo>
                  <a:pt x="11691006" y="4399039"/>
                  <a:pt x="11690347" y="4413491"/>
                  <a:pt x="11672131" y="4413491"/>
                </a:cubicBezTo>
                <a:cubicBezTo>
                  <a:pt x="11664565" y="4413491"/>
                  <a:pt x="11657834" y="4411357"/>
                  <a:pt x="11657834" y="4402647"/>
                </a:cubicBezTo>
                <a:cubicBezTo>
                  <a:pt x="11657834" y="4393937"/>
                  <a:pt x="11664410" y="4391648"/>
                  <a:pt x="11671627" y="4390174"/>
                </a:cubicBezTo>
                <a:cubicBezTo>
                  <a:pt x="11678843" y="4388699"/>
                  <a:pt x="11687146" y="4388699"/>
                  <a:pt x="11691026" y="4385246"/>
                </a:cubicBezTo>
                <a:close/>
                <a:moveTo>
                  <a:pt x="11763345" y="4357176"/>
                </a:moveTo>
                <a:cubicBezTo>
                  <a:pt x="11778437" y="4357176"/>
                  <a:pt x="11783209" y="4369495"/>
                  <a:pt x="11783209" y="4383268"/>
                </a:cubicBezTo>
                <a:cubicBezTo>
                  <a:pt x="11783209" y="4395431"/>
                  <a:pt x="11776633" y="4406760"/>
                  <a:pt x="11763345" y="4406760"/>
                </a:cubicBezTo>
                <a:cubicBezTo>
                  <a:pt x="11749048" y="4406760"/>
                  <a:pt x="11744469" y="4393452"/>
                  <a:pt x="11744469" y="4381309"/>
                </a:cubicBezTo>
                <a:cubicBezTo>
                  <a:pt x="11744469" y="4368680"/>
                  <a:pt x="11750289" y="4357176"/>
                  <a:pt x="11763345" y="4357176"/>
                </a:cubicBezTo>
                <a:close/>
                <a:moveTo>
                  <a:pt x="11531973" y="4357176"/>
                </a:moveTo>
                <a:cubicBezTo>
                  <a:pt x="11543302" y="4357176"/>
                  <a:pt x="11548403" y="4363423"/>
                  <a:pt x="11550537" y="4375237"/>
                </a:cubicBezTo>
                <a:lnTo>
                  <a:pt x="11512574" y="4375237"/>
                </a:lnTo>
                <a:cubicBezTo>
                  <a:pt x="11512903" y="4368661"/>
                  <a:pt x="11517171" y="4357176"/>
                  <a:pt x="11531973" y="4357176"/>
                </a:cubicBezTo>
                <a:close/>
                <a:moveTo>
                  <a:pt x="11383473" y="4357099"/>
                </a:moveTo>
                <a:cubicBezTo>
                  <a:pt x="11399225" y="4357099"/>
                  <a:pt x="11404153" y="4370678"/>
                  <a:pt x="11404153" y="4384354"/>
                </a:cubicBezTo>
                <a:cubicBezTo>
                  <a:pt x="11404153" y="4398031"/>
                  <a:pt x="11399400" y="4411513"/>
                  <a:pt x="11383473" y="4411513"/>
                </a:cubicBezTo>
                <a:cubicBezTo>
                  <a:pt x="11367721" y="4411513"/>
                  <a:pt x="11362949" y="4397934"/>
                  <a:pt x="11362949" y="4384354"/>
                </a:cubicBezTo>
                <a:cubicBezTo>
                  <a:pt x="11362949" y="4370775"/>
                  <a:pt x="11367721" y="4357099"/>
                  <a:pt x="11383473" y="4357099"/>
                </a:cubicBezTo>
                <a:close/>
                <a:moveTo>
                  <a:pt x="11757661" y="4339659"/>
                </a:moveTo>
                <a:cubicBezTo>
                  <a:pt x="11733858" y="4339659"/>
                  <a:pt x="11721210" y="4359698"/>
                  <a:pt x="11721210" y="4381697"/>
                </a:cubicBezTo>
                <a:cubicBezTo>
                  <a:pt x="11721210" y="4404975"/>
                  <a:pt x="11732035" y="4424374"/>
                  <a:pt x="11757486" y="4424374"/>
                </a:cubicBezTo>
                <a:cubicBezTo>
                  <a:pt x="11767671" y="4424374"/>
                  <a:pt x="11777836" y="4420107"/>
                  <a:pt x="11782938" y="4411241"/>
                </a:cubicBezTo>
                <a:lnTo>
                  <a:pt x="11783267" y="4411241"/>
                </a:lnTo>
                <a:lnTo>
                  <a:pt x="11783267" y="4422396"/>
                </a:lnTo>
                <a:cubicBezTo>
                  <a:pt x="11783423" y="4434559"/>
                  <a:pt x="11777448" y="4443405"/>
                  <a:pt x="11764547" y="4443405"/>
                </a:cubicBezTo>
                <a:cubicBezTo>
                  <a:pt x="11756342" y="4443405"/>
                  <a:pt x="11749280" y="4440456"/>
                  <a:pt x="11747088" y="4431765"/>
                </a:cubicBezTo>
                <a:lnTo>
                  <a:pt x="11723945" y="4431765"/>
                </a:lnTo>
                <a:cubicBezTo>
                  <a:pt x="11725090" y="4451164"/>
                  <a:pt x="11744625" y="4459021"/>
                  <a:pt x="11761366" y="4459021"/>
                </a:cubicBezTo>
                <a:cubicBezTo>
                  <a:pt x="11800435" y="4459021"/>
                  <a:pt x="11805363" y="4435373"/>
                  <a:pt x="11805363" y="4421426"/>
                </a:cubicBezTo>
                <a:lnTo>
                  <a:pt x="11805363" y="4341967"/>
                </a:lnTo>
                <a:lnTo>
                  <a:pt x="11783209" y="4341967"/>
                </a:lnTo>
                <a:lnTo>
                  <a:pt x="11783209" y="4353238"/>
                </a:lnTo>
                <a:lnTo>
                  <a:pt x="11782879" y="4353238"/>
                </a:lnTo>
                <a:cubicBezTo>
                  <a:pt x="11777292" y="4343384"/>
                  <a:pt x="11768757" y="4339659"/>
                  <a:pt x="11757661" y="4339659"/>
                </a:cubicBezTo>
                <a:close/>
                <a:moveTo>
                  <a:pt x="11677020" y="4339620"/>
                </a:moveTo>
                <a:cubicBezTo>
                  <a:pt x="11657970" y="4339620"/>
                  <a:pt x="11638435" y="4346177"/>
                  <a:pt x="11637116" y="4368020"/>
                </a:cubicBezTo>
                <a:lnTo>
                  <a:pt x="11660395" y="4368020"/>
                </a:lnTo>
                <a:cubicBezTo>
                  <a:pt x="11661209" y="4358825"/>
                  <a:pt x="11666951" y="4355217"/>
                  <a:pt x="11675914" y="4355217"/>
                </a:cubicBezTo>
                <a:cubicBezTo>
                  <a:pt x="11684120" y="4355217"/>
                  <a:pt x="11691026" y="4356691"/>
                  <a:pt x="11691026" y="4366701"/>
                </a:cubicBezTo>
                <a:cubicBezTo>
                  <a:pt x="11691026" y="4376226"/>
                  <a:pt x="11677737" y="4375721"/>
                  <a:pt x="11663440" y="4377855"/>
                </a:cubicBezTo>
                <a:cubicBezTo>
                  <a:pt x="11649143" y="4379989"/>
                  <a:pt x="11634594" y="4384432"/>
                  <a:pt x="11634594" y="4403637"/>
                </a:cubicBezTo>
                <a:cubicBezTo>
                  <a:pt x="11634594" y="4421096"/>
                  <a:pt x="11647397" y="4429088"/>
                  <a:pt x="11663479" y="4429088"/>
                </a:cubicBezTo>
                <a:cubicBezTo>
                  <a:pt x="11673819" y="4429088"/>
                  <a:pt x="11684663" y="4426295"/>
                  <a:pt x="11692054" y="4418574"/>
                </a:cubicBezTo>
                <a:cubicBezTo>
                  <a:pt x="11692265" y="4421365"/>
                  <a:pt x="11692812" y="4424120"/>
                  <a:pt x="11693683" y="4426780"/>
                </a:cubicBezTo>
                <a:lnTo>
                  <a:pt x="11717234" y="4426780"/>
                </a:lnTo>
                <a:cubicBezTo>
                  <a:pt x="11715100" y="4423327"/>
                  <a:pt x="11714285" y="4415625"/>
                  <a:pt x="11714285" y="4407904"/>
                </a:cubicBezTo>
                <a:lnTo>
                  <a:pt x="11714285" y="4363752"/>
                </a:lnTo>
                <a:cubicBezTo>
                  <a:pt x="11714285" y="4343383"/>
                  <a:pt x="11693916" y="4339620"/>
                  <a:pt x="11677020" y="4339620"/>
                </a:cubicBezTo>
                <a:close/>
                <a:moveTo>
                  <a:pt x="11532593" y="4339601"/>
                </a:moveTo>
                <a:cubicBezTo>
                  <a:pt x="11506812" y="4339601"/>
                  <a:pt x="11489256" y="4359000"/>
                  <a:pt x="11489256" y="4384413"/>
                </a:cubicBezTo>
                <a:cubicBezTo>
                  <a:pt x="11489256" y="4410698"/>
                  <a:pt x="11505842" y="4429030"/>
                  <a:pt x="11532593" y="4429030"/>
                </a:cubicBezTo>
                <a:cubicBezTo>
                  <a:pt x="11551798" y="4429030"/>
                  <a:pt x="11565746" y="4420495"/>
                  <a:pt x="11572322" y="4400475"/>
                </a:cubicBezTo>
                <a:lnTo>
                  <a:pt x="11551798" y="4400475"/>
                </a:lnTo>
                <a:cubicBezTo>
                  <a:pt x="11550324" y="4405713"/>
                  <a:pt x="11542778" y="4411474"/>
                  <a:pt x="11533427" y="4411474"/>
                </a:cubicBezTo>
                <a:cubicBezTo>
                  <a:pt x="11520450" y="4411474"/>
                  <a:pt x="11513214" y="4404743"/>
                  <a:pt x="11512574" y="4389961"/>
                </a:cubicBezTo>
                <a:lnTo>
                  <a:pt x="11573797" y="4389961"/>
                </a:lnTo>
                <a:cubicBezTo>
                  <a:pt x="11575446" y="4363908"/>
                  <a:pt x="11561478" y="4339601"/>
                  <a:pt x="11532593" y="4339601"/>
                </a:cubicBezTo>
                <a:close/>
                <a:moveTo>
                  <a:pt x="11484290" y="4339601"/>
                </a:moveTo>
                <a:cubicBezTo>
                  <a:pt x="11472474" y="4339756"/>
                  <a:pt x="11461846" y="4346825"/>
                  <a:pt x="11457132" y="4357661"/>
                </a:cubicBezTo>
                <a:lnTo>
                  <a:pt x="11456802" y="4357661"/>
                </a:lnTo>
                <a:lnTo>
                  <a:pt x="11456802" y="4341968"/>
                </a:lnTo>
                <a:lnTo>
                  <a:pt x="11434784" y="4341968"/>
                </a:lnTo>
                <a:lnTo>
                  <a:pt x="11434784" y="4426838"/>
                </a:lnTo>
                <a:lnTo>
                  <a:pt x="11458063" y="4426838"/>
                </a:lnTo>
                <a:lnTo>
                  <a:pt x="11458063" y="4388525"/>
                </a:lnTo>
                <a:cubicBezTo>
                  <a:pt x="11458063" y="4373588"/>
                  <a:pt x="11463882" y="4361367"/>
                  <a:pt x="11481051" y="4361367"/>
                </a:cubicBezTo>
                <a:cubicBezTo>
                  <a:pt x="11483863" y="4361357"/>
                  <a:pt x="11486672" y="4361629"/>
                  <a:pt x="11489431" y="4362181"/>
                </a:cubicBezTo>
                <a:lnTo>
                  <a:pt x="11489392" y="4340435"/>
                </a:lnTo>
                <a:cubicBezTo>
                  <a:pt x="11487743" y="4339906"/>
                  <a:pt x="11486023" y="4339624"/>
                  <a:pt x="11484290" y="4339601"/>
                </a:cubicBezTo>
                <a:close/>
                <a:moveTo>
                  <a:pt x="11383473" y="4339601"/>
                </a:moveTo>
                <a:cubicBezTo>
                  <a:pt x="11356877" y="4339601"/>
                  <a:pt x="11339651" y="4357332"/>
                  <a:pt x="11339651" y="4384413"/>
                </a:cubicBezTo>
                <a:cubicBezTo>
                  <a:pt x="11339651" y="4411494"/>
                  <a:pt x="11356877" y="4429030"/>
                  <a:pt x="11383473" y="4429030"/>
                </a:cubicBezTo>
                <a:cubicBezTo>
                  <a:pt x="11410069" y="4429030"/>
                  <a:pt x="11427470" y="4411300"/>
                  <a:pt x="11427470" y="4384413"/>
                </a:cubicBezTo>
                <a:cubicBezTo>
                  <a:pt x="11427470" y="4357526"/>
                  <a:pt x="11410244" y="4339601"/>
                  <a:pt x="11383473" y="4339601"/>
                </a:cubicBezTo>
                <a:close/>
                <a:moveTo>
                  <a:pt x="11589044" y="4316458"/>
                </a:moveTo>
                <a:lnTo>
                  <a:pt x="11589044" y="4341968"/>
                </a:lnTo>
                <a:lnTo>
                  <a:pt x="11574922" y="4341968"/>
                </a:lnTo>
                <a:lnTo>
                  <a:pt x="11574922" y="4357487"/>
                </a:lnTo>
                <a:lnTo>
                  <a:pt x="11589044" y="4357487"/>
                </a:lnTo>
                <a:lnTo>
                  <a:pt x="11589044" y="4407556"/>
                </a:lnTo>
                <a:cubicBezTo>
                  <a:pt x="11589044" y="4424471"/>
                  <a:pt x="11601518" y="4427750"/>
                  <a:pt x="11615796" y="4427750"/>
                </a:cubicBezTo>
                <a:cubicBezTo>
                  <a:pt x="11620337" y="4427826"/>
                  <a:pt x="11624876" y="4427552"/>
                  <a:pt x="11629375" y="4426935"/>
                </a:cubicBezTo>
                <a:lnTo>
                  <a:pt x="11629375" y="4408700"/>
                </a:lnTo>
                <a:cubicBezTo>
                  <a:pt x="11626997" y="4409160"/>
                  <a:pt x="11624579" y="4409381"/>
                  <a:pt x="11622158" y="4409360"/>
                </a:cubicBezTo>
                <a:cubicBezTo>
                  <a:pt x="11614263" y="4409360"/>
                  <a:pt x="11612304" y="4407420"/>
                  <a:pt x="11612304" y="4399505"/>
                </a:cubicBezTo>
                <a:lnTo>
                  <a:pt x="11612304" y="4357487"/>
                </a:lnTo>
                <a:lnTo>
                  <a:pt x="11629375" y="4357487"/>
                </a:lnTo>
                <a:lnTo>
                  <a:pt x="11629375" y="4341968"/>
                </a:lnTo>
                <a:lnTo>
                  <a:pt x="11612304" y="4341968"/>
                </a:lnTo>
                <a:lnTo>
                  <a:pt x="11612323" y="4316458"/>
                </a:lnTo>
                <a:close/>
                <a:moveTo>
                  <a:pt x="11389390" y="4309571"/>
                </a:moveTo>
                <a:lnTo>
                  <a:pt x="11389390" y="4328776"/>
                </a:lnTo>
                <a:lnTo>
                  <a:pt x="11411544" y="4328776"/>
                </a:lnTo>
                <a:lnTo>
                  <a:pt x="11411544" y="4309571"/>
                </a:lnTo>
                <a:close/>
                <a:moveTo>
                  <a:pt x="11355578" y="4309571"/>
                </a:moveTo>
                <a:lnTo>
                  <a:pt x="11355578" y="4328776"/>
                </a:lnTo>
                <a:lnTo>
                  <a:pt x="11377732" y="4328776"/>
                </a:lnTo>
                <a:lnTo>
                  <a:pt x="11377732" y="4309571"/>
                </a:lnTo>
                <a:close/>
                <a:moveTo>
                  <a:pt x="11257148" y="4309571"/>
                </a:moveTo>
                <a:lnTo>
                  <a:pt x="11257148" y="4426780"/>
                </a:lnTo>
                <a:lnTo>
                  <a:pt x="11282929" y="4426780"/>
                </a:lnTo>
                <a:lnTo>
                  <a:pt x="11282929" y="4378360"/>
                </a:lnTo>
                <a:lnTo>
                  <a:pt x="11332009" y="4378360"/>
                </a:lnTo>
                <a:lnTo>
                  <a:pt x="11332009" y="4358340"/>
                </a:lnTo>
                <a:lnTo>
                  <a:pt x="11282929" y="4358340"/>
                </a:lnTo>
                <a:lnTo>
                  <a:pt x="11282929" y="4331240"/>
                </a:lnTo>
                <a:lnTo>
                  <a:pt x="11339574" y="4331240"/>
                </a:lnTo>
                <a:lnTo>
                  <a:pt x="11339574" y="4309571"/>
                </a:lnTo>
                <a:close/>
                <a:moveTo>
                  <a:pt x="11587492" y="3925453"/>
                </a:moveTo>
                <a:cubicBezTo>
                  <a:pt x="11633235" y="3936375"/>
                  <a:pt x="11680743" y="3959886"/>
                  <a:pt x="11707165" y="3995289"/>
                </a:cubicBezTo>
                <a:cubicBezTo>
                  <a:pt x="11697983" y="3992090"/>
                  <a:pt x="11688332" y="3990438"/>
                  <a:pt x="11678609" y="3990401"/>
                </a:cubicBezTo>
                <a:cubicBezTo>
                  <a:pt x="11670074" y="3990537"/>
                  <a:pt x="11663284" y="3999421"/>
                  <a:pt x="11663265" y="4009586"/>
                </a:cubicBezTo>
                <a:cubicBezTo>
                  <a:pt x="11663265" y="4014921"/>
                  <a:pt x="11665205" y="4020954"/>
                  <a:pt x="11667707" y="4028520"/>
                </a:cubicBezTo>
                <a:cubicBezTo>
                  <a:pt x="11671587" y="4040159"/>
                  <a:pt x="11676437" y="4055368"/>
                  <a:pt x="11676437" y="4073448"/>
                </a:cubicBezTo>
                <a:cubicBezTo>
                  <a:pt x="11676437" y="4090092"/>
                  <a:pt x="11672305" y="4109239"/>
                  <a:pt x="11659172" y="4130636"/>
                </a:cubicBezTo>
                <a:cubicBezTo>
                  <a:pt x="11658784" y="4113390"/>
                  <a:pt x="11654128" y="4099598"/>
                  <a:pt x="11648153" y="4092226"/>
                </a:cubicBezTo>
                <a:cubicBezTo>
                  <a:pt x="11643458" y="4086523"/>
                  <a:pt x="11638453" y="4085068"/>
                  <a:pt x="11635078" y="4085087"/>
                </a:cubicBezTo>
                <a:cubicBezTo>
                  <a:pt x="11629844" y="4085215"/>
                  <a:pt x="11624959" y="4087739"/>
                  <a:pt x="11621829" y="4091935"/>
                </a:cubicBezTo>
                <a:cubicBezTo>
                  <a:pt x="11617939" y="4096950"/>
                  <a:pt x="11614554" y="4102337"/>
                  <a:pt x="11611722" y="4108017"/>
                </a:cubicBezTo>
                <a:cubicBezTo>
                  <a:pt x="11599132" y="4130597"/>
                  <a:pt x="11579325" y="4166602"/>
                  <a:pt x="11517326" y="4185244"/>
                </a:cubicBezTo>
                <a:cubicBezTo>
                  <a:pt x="11522933" y="4175544"/>
                  <a:pt x="11525842" y="4165690"/>
                  <a:pt x="11525862" y="4157736"/>
                </a:cubicBezTo>
                <a:cubicBezTo>
                  <a:pt x="11525916" y="4154867"/>
                  <a:pt x="11525416" y="4152015"/>
                  <a:pt x="11524387" y="4149337"/>
                </a:cubicBezTo>
                <a:cubicBezTo>
                  <a:pt x="11522764" y="4144815"/>
                  <a:pt x="11518484" y="4141790"/>
                  <a:pt x="11513679" y="4141771"/>
                </a:cubicBezTo>
                <a:lnTo>
                  <a:pt x="11513524" y="4141771"/>
                </a:lnTo>
                <a:cubicBezTo>
                  <a:pt x="11506773" y="4142023"/>
                  <a:pt x="11498858" y="4144176"/>
                  <a:pt x="11489721" y="4146795"/>
                </a:cubicBezTo>
                <a:cubicBezTo>
                  <a:pt x="11475521" y="4150791"/>
                  <a:pt x="11458062" y="4155738"/>
                  <a:pt x="11439090" y="4155738"/>
                </a:cubicBezTo>
                <a:cubicBezTo>
                  <a:pt x="11419381" y="4155738"/>
                  <a:pt x="11397848" y="4150578"/>
                  <a:pt x="11375714" y="4133817"/>
                </a:cubicBezTo>
                <a:cubicBezTo>
                  <a:pt x="11382806" y="4132975"/>
                  <a:pt x="11389524" y="4130174"/>
                  <a:pt x="11395113" y="4125728"/>
                </a:cubicBezTo>
                <a:cubicBezTo>
                  <a:pt x="11399066" y="4122616"/>
                  <a:pt x="11401484" y="4117949"/>
                  <a:pt x="11401747" y="4112925"/>
                </a:cubicBezTo>
                <a:cubicBezTo>
                  <a:pt x="11401747" y="4105669"/>
                  <a:pt x="11395927" y="4100703"/>
                  <a:pt x="11389448" y="4094728"/>
                </a:cubicBezTo>
                <a:cubicBezTo>
                  <a:pt x="11379981" y="4085786"/>
                  <a:pt x="11368652" y="4075329"/>
                  <a:pt x="11368672" y="4057579"/>
                </a:cubicBezTo>
                <a:cubicBezTo>
                  <a:pt x="11368748" y="4051620"/>
                  <a:pt x="11369830" y="4045719"/>
                  <a:pt x="11371873" y="4040120"/>
                </a:cubicBezTo>
                <a:cubicBezTo>
                  <a:pt x="11373810" y="4045618"/>
                  <a:pt x="11376772" y="4050701"/>
                  <a:pt x="11380602" y="4055096"/>
                </a:cubicBezTo>
                <a:cubicBezTo>
                  <a:pt x="11386422" y="4061323"/>
                  <a:pt x="11393309" y="4065184"/>
                  <a:pt x="11400001" y="4065184"/>
                </a:cubicBezTo>
                <a:cubicBezTo>
                  <a:pt x="11407121" y="4065281"/>
                  <a:pt x="11411330" y="4061847"/>
                  <a:pt x="11413134" y="4057560"/>
                </a:cubicBezTo>
                <a:cubicBezTo>
                  <a:pt x="11414587" y="4053381"/>
                  <a:pt x="11415193" y="4048958"/>
                  <a:pt x="11414919" y="4044543"/>
                </a:cubicBezTo>
                <a:cubicBezTo>
                  <a:pt x="11415029" y="4040109"/>
                  <a:pt x="11416933" y="4035909"/>
                  <a:pt x="11420196" y="4032904"/>
                </a:cubicBezTo>
                <a:cubicBezTo>
                  <a:pt x="11423497" y="4029629"/>
                  <a:pt x="11427942" y="4027765"/>
                  <a:pt x="11432592" y="4027705"/>
                </a:cubicBezTo>
                <a:cubicBezTo>
                  <a:pt x="11443009" y="4027705"/>
                  <a:pt x="11450904" y="4033525"/>
                  <a:pt x="11456433" y="4042177"/>
                </a:cubicBezTo>
                <a:cubicBezTo>
                  <a:pt x="11461985" y="4051572"/>
                  <a:pt x="11464868" y="4062303"/>
                  <a:pt x="11464774" y="4073215"/>
                </a:cubicBezTo>
                <a:cubicBezTo>
                  <a:pt x="11464869" y="4079512"/>
                  <a:pt x="11463748" y="4085770"/>
                  <a:pt x="11461477" y="4091644"/>
                </a:cubicBezTo>
                <a:lnTo>
                  <a:pt x="11459090" y="4097464"/>
                </a:lnTo>
                <a:lnTo>
                  <a:pt x="11463998" y="4093584"/>
                </a:lnTo>
                <a:cubicBezTo>
                  <a:pt x="11472474" y="4086878"/>
                  <a:pt x="11479308" y="4078325"/>
                  <a:pt x="11483979" y="4068579"/>
                </a:cubicBezTo>
                <a:cubicBezTo>
                  <a:pt x="11486482" y="4068695"/>
                  <a:pt x="11488946" y="4068753"/>
                  <a:pt x="11491390" y="4068753"/>
                </a:cubicBezTo>
                <a:lnTo>
                  <a:pt x="11491390" y="4068676"/>
                </a:lnTo>
                <a:cubicBezTo>
                  <a:pt x="11522079" y="4068676"/>
                  <a:pt x="11547647" y="4059345"/>
                  <a:pt x="11567473" y="4041168"/>
                </a:cubicBezTo>
                <a:cubicBezTo>
                  <a:pt x="11588617" y="4021905"/>
                  <a:pt x="11600645" y="3993097"/>
                  <a:pt x="11600645" y="3962136"/>
                </a:cubicBezTo>
                <a:cubicBezTo>
                  <a:pt x="11600645" y="3947316"/>
                  <a:pt x="11596028" y="3934978"/>
                  <a:pt x="11587492" y="3925453"/>
                </a:cubicBezTo>
                <a:close/>
                <a:moveTo>
                  <a:pt x="11538859" y="3640831"/>
                </a:moveTo>
                <a:cubicBezTo>
                  <a:pt x="11528869" y="3652141"/>
                  <a:pt x="11522409" y="3665003"/>
                  <a:pt x="11522370" y="3676099"/>
                </a:cubicBezTo>
                <a:cubicBezTo>
                  <a:pt x="11522314" y="3679006"/>
                  <a:pt x="11523359" y="3681827"/>
                  <a:pt x="11525299" y="3683994"/>
                </a:cubicBezTo>
                <a:cubicBezTo>
                  <a:pt x="11527914" y="3686593"/>
                  <a:pt x="11531513" y="3687954"/>
                  <a:pt x="11535193" y="3687738"/>
                </a:cubicBezTo>
                <a:cubicBezTo>
                  <a:pt x="11542952" y="3687738"/>
                  <a:pt x="11551507" y="3684770"/>
                  <a:pt x="11561478" y="3681589"/>
                </a:cubicBezTo>
                <a:cubicBezTo>
                  <a:pt x="11575058" y="3677146"/>
                  <a:pt x="11590577" y="3672064"/>
                  <a:pt x="11607784" y="3672064"/>
                </a:cubicBezTo>
                <a:cubicBezTo>
                  <a:pt x="11622760" y="3672064"/>
                  <a:pt x="11638938" y="3675944"/>
                  <a:pt x="11656184" y="3687447"/>
                </a:cubicBezTo>
                <a:cubicBezTo>
                  <a:pt x="11644739" y="3688184"/>
                  <a:pt x="11635350" y="3691540"/>
                  <a:pt x="11629472" y="3696177"/>
                </a:cubicBezTo>
                <a:cubicBezTo>
                  <a:pt x="11623109" y="3701085"/>
                  <a:pt x="11621538" y="3706671"/>
                  <a:pt x="11621576" y="3710532"/>
                </a:cubicBezTo>
                <a:cubicBezTo>
                  <a:pt x="11621576" y="3716875"/>
                  <a:pt x="11626077" y="3721667"/>
                  <a:pt x="11631606" y="3727991"/>
                </a:cubicBezTo>
                <a:cubicBezTo>
                  <a:pt x="11640413" y="3738001"/>
                  <a:pt x="11652052" y="3751153"/>
                  <a:pt x="11652149" y="3772298"/>
                </a:cubicBezTo>
                <a:cubicBezTo>
                  <a:pt x="11651759" y="3788205"/>
                  <a:pt x="11646640" y="3803637"/>
                  <a:pt x="11637445" y="3816625"/>
                </a:cubicBezTo>
                <a:cubicBezTo>
                  <a:pt x="11637445" y="3815732"/>
                  <a:pt x="11637445" y="3814821"/>
                  <a:pt x="11637445" y="3813890"/>
                </a:cubicBezTo>
                <a:cubicBezTo>
                  <a:pt x="11637445" y="3803162"/>
                  <a:pt x="11635059" y="3791038"/>
                  <a:pt x="11629181" y="3784170"/>
                </a:cubicBezTo>
                <a:cubicBezTo>
                  <a:pt x="11625799" y="3780178"/>
                  <a:pt x="11620831" y="3777879"/>
                  <a:pt x="11615601" y="3777885"/>
                </a:cubicBezTo>
                <a:cubicBezTo>
                  <a:pt x="11606542" y="3777885"/>
                  <a:pt x="11598724" y="3784869"/>
                  <a:pt x="11587085" y="3794452"/>
                </a:cubicBezTo>
                <a:cubicBezTo>
                  <a:pt x="11577147" y="3803028"/>
                  <a:pt x="11566642" y="3810922"/>
                  <a:pt x="11555639" y="3818080"/>
                </a:cubicBezTo>
                <a:cubicBezTo>
                  <a:pt x="11501128" y="3852416"/>
                  <a:pt x="11471913" y="3865743"/>
                  <a:pt x="11451176" y="3867431"/>
                </a:cubicBezTo>
                <a:cubicBezTo>
                  <a:pt x="11443552" y="3868051"/>
                  <a:pt x="11432068" y="3867916"/>
                  <a:pt x="11441437" y="3858546"/>
                </a:cubicBezTo>
                <a:cubicBezTo>
                  <a:pt x="11451021" y="3848963"/>
                  <a:pt x="11470827" y="3835403"/>
                  <a:pt x="11485609" y="3826033"/>
                </a:cubicBezTo>
                <a:cubicBezTo>
                  <a:pt x="11500100" y="3816722"/>
                  <a:pt x="11513117" y="3808419"/>
                  <a:pt x="11522642" y="3800078"/>
                </a:cubicBezTo>
                <a:cubicBezTo>
                  <a:pt x="11532166" y="3791736"/>
                  <a:pt x="11538335" y="3783259"/>
                  <a:pt x="11538374" y="3773443"/>
                </a:cubicBezTo>
                <a:cubicBezTo>
                  <a:pt x="11538395" y="3765768"/>
                  <a:pt x="11535317" y="3758409"/>
                  <a:pt x="11529839" y="3753035"/>
                </a:cubicBezTo>
                <a:cubicBezTo>
                  <a:pt x="11519732" y="3743103"/>
                  <a:pt x="11501846" y="3738447"/>
                  <a:pt x="11479537" y="3735964"/>
                </a:cubicBezTo>
                <a:cubicBezTo>
                  <a:pt x="11457228" y="3733481"/>
                  <a:pt x="11430380" y="3733423"/>
                  <a:pt x="11402562" y="3733423"/>
                </a:cubicBezTo>
                <a:lnTo>
                  <a:pt x="11394938" y="3733423"/>
                </a:lnTo>
                <a:cubicBezTo>
                  <a:pt x="11372028" y="3733423"/>
                  <a:pt x="11353754" y="3733093"/>
                  <a:pt x="11339185" y="3732511"/>
                </a:cubicBezTo>
                <a:cubicBezTo>
                  <a:pt x="11359419" y="3724635"/>
                  <a:pt x="11382853" y="3712142"/>
                  <a:pt x="11408382" y="3698505"/>
                </a:cubicBezTo>
                <a:cubicBezTo>
                  <a:pt x="11449779" y="3676351"/>
                  <a:pt x="11495677" y="3651772"/>
                  <a:pt x="11538859" y="3640831"/>
                </a:cubicBezTo>
                <a:close/>
                <a:moveTo>
                  <a:pt x="11560082" y="3581878"/>
                </a:moveTo>
                <a:cubicBezTo>
                  <a:pt x="11613953" y="3581878"/>
                  <a:pt x="11657794" y="3595205"/>
                  <a:pt x="11686931" y="3620075"/>
                </a:cubicBezTo>
                <a:cubicBezTo>
                  <a:pt x="11712123" y="3641471"/>
                  <a:pt x="11726467" y="3672982"/>
                  <a:pt x="11726059" y="3706031"/>
                </a:cubicBezTo>
                <a:cubicBezTo>
                  <a:pt x="11726059" y="3758137"/>
                  <a:pt x="11701519" y="3794064"/>
                  <a:pt x="11686582" y="3815791"/>
                </a:cubicBezTo>
                <a:cubicBezTo>
                  <a:pt x="11678958" y="3826790"/>
                  <a:pt x="11674419" y="3833250"/>
                  <a:pt x="11674342" y="3840602"/>
                </a:cubicBezTo>
                <a:cubicBezTo>
                  <a:pt x="11674342" y="3846422"/>
                  <a:pt x="11677135" y="3851330"/>
                  <a:pt x="11681655" y="3855966"/>
                </a:cubicBezTo>
                <a:cubicBezTo>
                  <a:pt x="11687535" y="3861495"/>
                  <a:pt x="11693818" y="3866579"/>
                  <a:pt x="11700453" y="3871175"/>
                </a:cubicBezTo>
                <a:cubicBezTo>
                  <a:pt x="11731491" y="3894163"/>
                  <a:pt x="11782471" y="3931661"/>
                  <a:pt x="11782491" y="4009121"/>
                </a:cubicBezTo>
                <a:cubicBezTo>
                  <a:pt x="11782491" y="4097134"/>
                  <a:pt x="11735933" y="4150617"/>
                  <a:pt x="11696825" y="4180161"/>
                </a:cubicBezTo>
                <a:cubicBezTo>
                  <a:pt x="11648560" y="4216554"/>
                  <a:pt x="11584311" y="4237466"/>
                  <a:pt x="11520760" y="4237447"/>
                </a:cubicBezTo>
                <a:cubicBezTo>
                  <a:pt x="11362018" y="4237388"/>
                  <a:pt x="11279960" y="4149143"/>
                  <a:pt x="11279960" y="4062623"/>
                </a:cubicBezTo>
                <a:cubicBezTo>
                  <a:pt x="11280066" y="4036258"/>
                  <a:pt x="11289713" y="4010824"/>
                  <a:pt x="11307119" y="3991022"/>
                </a:cubicBezTo>
                <a:cubicBezTo>
                  <a:pt x="11324578" y="3971293"/>
                  <a:pt x="11350029" y="3958043"/>
                  <a:pt x="11381902" y="3958043"/>
                </a:cubicBezTo>
                <a:cubicBezTo>
                  <a:pt x="11399710" y="3958043"/>
                  <a:pt x="11422194" y="3962214"/>
                  <a:pt x="11440099" y="3974144"/>
                </a:cubicBezTo>
                <a:cubicBezTo>
                  <a:pt x="11458004" y="3986075"/>
                  <a:pt x="11471312" y="4005610"/>
                  <a:pt x="11471351" y="4037249"/>
                </a:cubicBezTo>
                <a:cubicBezTo>
                  <a:pt x="11471351" y="4038161"/>
                  <a:pt x="11471351" y="4039189"/>
                  <a:pt x="11471351" y="4040004"/>
                </a:cubicBezTo>
                <a:cubicBezTo>
                  <a:pt x="11469560" y="4035963"/>
                  <a:pt x="11467236" y="4032178"/>
                  <a:pt x="11464445" y="4028753"/>
                </a:cubicBezTo>
                <a:cubicBezTo>
                  <a:pt x="11456747" y="4019117"/>
                  <a:pt x="11445000" y="4013616"/>
                  <a:pt x="11432669" y="4013874"/>
                </a:cubicBezTo>
                <a:cubicBezTo>
                  <a:pt x="11415617" y="4013874"/>
                  <a:pt x="11401126" y="4027841"/>
                  <a:pt x="11401088" y="4044582"/>
                </a:cubicBezTo>
                <a:cubicBezTo>
                  <a:pt x="11401188" y="4046617"/>
                  <a:pt x="11400925" y="4048654"/>
                  <a:pt x="11400312" y="4050596"/>
                </a:cubicBezTo>
                <a:cubicBezTo>
                  <a:pt x="11400216" y="4050830"/>
                  <a:pt x="11400092" y="4051052"/>
                  <a:pt x="11399943" y="4051255"/>
                </a:cubicBezTo>
                <a:cubicBezTo>
                  <a:pt x="11395792" y="4051158"/>
                  <a:pt x="11390825" y="4048287"/>
                  <a:pt x="11386907" y="4042623"/>
                </a:cubicBezTo>
                <a:cubicBezTo>
                  <a:pt x="11382106" y="4035144"/>
                  <a:pt x="11379697" y="4026382"/>
                  <a:pt x="11380001" y="4017501"/>
                </a:cubicBezTo>
                <a:cubicBezTo>
                  <a:pt x="11379998" y="4015239"/>
                  <a:pt x="11380121" y="4012979"/>
                  <a:pt x="11380369" y="4010731"/>
                </a:cubicBezTo>
                <a:lnTo>
                  <a:pt x="11380893" y="4005668"/>
                </a:lnTo>
                <a:lnTo>
                  <a:pt x="11377479" y="4009548"/>
                </a:lnTo>
                <a:cubicBezTo>
                  <a:pt x="11361417" y="4027414"/>
                  <a:pt x="11355636" y="4043554"/>
                  <a:pt x="11355636" y="4057463"/>
                </a:cubicBezTo>
                <a:cubicBezTo>
                  <a:pt x="11355636" y="4080237"/>
                  <a:pt x="11371000" y="4096455"/>
                  <a:pt x="11380059" y="4104952"/>
                </a:cubicBezTo>
                <a:cubicBezTo>
                  <a:pt x="11381747" y="4106465"/>
                  <a:pt x="11383784" y="4108366"/>
                  <a:pt x="11385374" y="4110054"/>
                </a:cubicBezTo>
                <a:cubicBezTo>
                  <a:pt x="11386067" y="4110750"/>
                  <a:pt x="11386714" y="4111487"/>
                  <a:pt x="11387314" y="4112265"/>
                </a:cubicBezTo>
                <a:cubicBezTo>
                  <a:pt x="11387507" y="4112511"/>
                  <a:pt x="11387682" y="4112771"/>
                  <a:pt x="11387838" y="4113041"/>
                </a:cubicBezTo>
                <a:lnTo>
                  <a:pt x="11387838" y="4113196"/>
                </a:lnTo>
                <a:cubicBezTo>
                  <a:pt x="11387702" y="4114011"/>
                  <a:pt x="11386034" y="4116203"/>
                  <a:pt x="11381786" y="4117891"/>
                </a:cubicBezTo>
                <a:cubicBezTo>
                  <a:pt x="11377227" y="4119831"/>
                  <a:pt x="11369933" y="4121305"/>
                  <a:pt x="11359516" y="4121305"/>
                </a:cubicBezTo>
                <a:cubicBezTo>
                  <a:pt x="11355888" y="4121305"/>
                  <a:pt x="11351892" y="4121130"/>
                  <a:pt x="11347488" y="4120723"/>
                </a:cubicBezTo>
                <a:lnTo>
                  <a:pt x="11343608" y="4120354"/>
                </a:lnTo>
                <a:lnTo>
                  <a:pt x="11346169" y="4123439"/>
                </a:lnTo>
                <a:cubicBezTo>
                  <a:pt x="11376567" y="4159676"/>
                  <a:pt x="11410186" y="4169589"/>
                  <a:pt x="11439284" y="4169570"/>
                </a:cubicBezTo>
                <a:cubicBezTo>
                  <a:pt x="11460778" y="4169570"/>
                  <a:pt x="11479847" y="4164216"/>
                  <a:pt x="11493601" y="4160375"/>
                </a:cubicBezTo>
                <a:cubicBezTo>
                  <a:pt x="11499421" y="4158726"/>
                  <a:pt x="11505958" y="4156262"/>
                  <a:pt x="11509567" y="4156320"/>
                </a:cubicBezTo>
                <a:cubicBezTo>
                  <a:pt x="11511080" y="4156320"/>
                  <a:pt x="11511701" y="4156669"/>
                  <a:pt x="11511972" y="4157096"/>
                </a:cubicBezTo>
                <a:cubicBezTo>
                  <a:pt x="11512463" y="4157926"/>
                  <a:pt x="11512686" y="4158889"/>
                  <a:pt x="11512612" y="4159851"/>
                </a:cubicBezTo>
                <a:cubicBezTo>
                  <a:pt x="11512612" y="4164041"/>
                  <a:pt x="11510149" y="4171704"/>
                  <a:pt x="11505978" y="4179560"/>
                </a:cubicBezTo>
                <a:cubicBezTo>
                  <a:pt x="11501768" y="4187727"/>
                  <a:pt x="11496236" y="4195141"/>
                  <a:pt x="11489605" y="4201500"/>
                </a:cubicBezTo>
                <a:lnTo>
                  <a:pt x="11485725" y="4205031"/>
                </a:lnTo>
                <a:lnTo>
                  <a:pt x="11490924" y="4204352"/>
                </a:lnTo>
                <a:cubicBezTo>
                  <a:pt x="11579733" y="4192945"/>
                  <a:pt x="11609258" y="4141461"/>
                  <a:pt x="11623982" y="4114923"/>
                </a:cubicBezTo>
                <a:cubicBezTo>
                  <a:pt x="11626023" y="4110954"/>
                  <a:pt x="11628271" y="4107095"/>
                  <a:pt x="11630713" y="4103361"/>
                </a:cubicBezTo>
                <a:cubicBezTo>
                  <a:pt x="11632653" y="4100393"/>
                  <a:pt x="11634690" y="4098938"/>
                  <a:pt x="11635175" y="4099113"/>
                </a:cubicBezTo>
                <a:cubicBezTo>
                  <a:pt x="11635990" y="4099113"/>
                  <a:pt x="11637348" y="4099869"/>
                  <a:pt x="11638803" y="4102061"/>
                </a:cubicBezTo>
                <a:cubicBezTo>
                  <a:pt x="11643187" y="4108521"/>
                  <a:pt x="11646853" y="4124739"/>
                  <a:pt x="11646814" y="4141616"/>
                </a:cubicBezTo>
                <a:cubicBezTo>
                  <a:pt x="11646861" y="4148929"/>
                  <a:pt x="11646128" y="4156225"/>
                  <a:pt x="11644622" y="4163381"/>
                </a:cubicBezTo>
                <a:lnTo>
                  <a:pt x="11643517" y="4168522"/>
                </a:lnTo>
                <a:lnTo>
                  <a:pt x="11647396" y="4164933"/>
                </a:lnTo>
                <a:cubicBezTo>
                  <a:pt x="11680918" y="4133895"/>
                  <a:pt x="11690074" y="4101266"/>
                  <a:pt x="11690074" y="4074107"/>
                </a:cubicBezTo>
                <a:cubicBezTo>
                  <a:pt x="11690074" y="4053273"/>
                  <a:pt x="11684720" y="4035659"/>
                  <a:pt x="11680995" y="4024252"/>
                </a:cubicBezTo>
                <a:cubicBezTo>
                  <a:pt x="11678939" y="4017947"/>
                  <a:pt x="11677232" y="4012283"/>
                  <a:pt x="11677251" y="4009645"/>
                </a:cubicBezTo>
                <a:cubicBezTo>
                  <a:pt x="11677110" y="4008250"/>
                  <a:pt x="11677409" y="4006845"/>
                  <a:pt x="11678105" y="4005629"/>
                </a:cubicBezTo>
                <a:cubicBezTo>
                  <a:pt x="11678786" y="4004898"/>
                  <a:pt x="11679696" y="4004418"/>
                  <a:pt x="11680685" y="4004271"/>
                </a:cubicBezTo>
                <a:cubicBezTo>
                  <a:pt x="11694846" y="4004271"/>
                  <a:pt x="11711723" y="4009373"/>
                  <a:pt x="11731821" y="4018956"/>
                </a:cubicBezTo>
                <a:lnTo>
                  <a:pt x="11735700" y="4020896"/>
                </a:lnTo>
                <a:lnTo>
                  <a:pt x="11733993" y="4016880"/>
                </a:lnTo>
                <a:cubicBezTo>
                  <a:pt x="11706621" y="3952864"/>
                  <a:pt x="11645689" y="3925356"/>
                  <a:pt x="11586328" y="3910380"/>
                </a:cubicBezTo>
                <a:cubicBezTo>
                  <a:pt x="11556609" y="3902853"/>
                  <a:pt x="11527220" y="3898450"/>
                  <a:pt x="11502486" y="3894182"/>
                </a:cubicBezTo>
                <a:lnTo>
                  <a:pt x="11502467" y="3894085"/>
                </a:lnTo>
                <a:cubicBezTo>
                  <a:pt x="11484464" y="3890981"/>
                  <a:pt x="11468887" y="3887897"/>
                  <a:pt x="11457577" y="3883842"/>
                </a:cubicBezTo>
                <a:cubicBezTo>
                  <a:pt x="11455637" y="3883027"/>
                  <a:pt x="11453833" y="3882174"/>
                  <a:pt x="11452010" y="3881340"/>
                </a:cubicBezTo>
                <a:cubicBezTo>
                  <a:pt x="11485919" y="3877072"/>
                  <a:pt x="11526871" y="3853172"/>
                  <a:pt x="11563205" y="3829836"/>
                </a:cubicBezTo>
                <a:cubicBezTo>
                  <a:pt x="11574641" y="3822326"/>
                  <a:pt x="11585572" y="3814078"/>
                  <a:pt x="11595931" y="3805141"/>
                </a:cubicBezTo>
                <a:cubicBezTo>
                  <a:pt x="11600354" y="3801474"/>
                  <a:pt x="11604466" y="3798060"/>
                  <a:pt x="11607958" y="3795635"/>
                </a:cubicBezTo>
                <a:cubicBezTo>
                  <a:pt x="11611450" y="3793210"/>
                  <a:pt x="11614321" y="3791755"/>
                  <a:pt x="11615718" y="3791755"/>
                </a:cubicBezTo>
                <a:cubicBezTo>
                  <a:pt x="11617031" y="3791794"/>
                  <a:pt x="11618259" y="3792411"/>
                  <a:pt x="11619074" y="3793443"/>
                </a:cubicBezTo>
                <a:cubicBezTo>
                  <a:pt x="11622410" y="3797032"/>
                  <a:pt x="11624389" y="3807022"/>
                  <a:pt x="11624331" y="3817828"/>
                </a:cubicBezTo>
                <a:cubicBezTo>
                  <a:pt x="11624337" y="3826464"/>
                  <a:pt x="11623221" y="3835065"/>
                  <a:pt x="11621014" y="3843415"/>
                </a:cubicBezTo>
                <a:lnTo>
                  <a:pt x="11619830" y="3847624"/>
                </a:lnTo>
                <a:lnTo>
                  <a:pt x="11623497" y="3845258"/>
                </a:lnTo>
                <a:cubicBezTo>
                  <a:pt x="11652343" y="3826693"/>
                  <a:pt x="11666175" y="3798584"/>
                  <a:pt x="11666175" y="3772221"/>
                </a:cubicBezTo>
                <a:cubicBezTo>
                  <a:pt x="11666175" y="3745857"/>
                  <a:pt x="11651528" y="3729310"/>
                  <a:pt x="11642081" y="3718738"/>
                </a:cubicBezTo>
                <a:cubicBezTo>
                  <a:pt x="11640626" y="3717108"/>
                  <a:pt x="11638938" y="3715188"/>
                  <a:pt x="11637580" y="3713500"/>
                </a:cubicBezTo>
                <a:cubicBezTo>
                  <a:pt x="11636764" y="3712490"/>
                  <a:pt x="11636025" y="3711420"/>
                  <a:pt x="11635369" y="3710299"/>
                </a:cubicBezTo>
                <a:cubicBezTo>
                  <a:pt x="11635891" y="3708993"/>
                  <a:pt x="11636806" y="3707881"/>
                  <a:pt x="11637988" y="3707118"/>
                </a:cubicBezTo>
                <a:cubicBezTo>
                  <a:pt x="11644040" y="3702578"/>
                  <a:pt x="11654341" y="3699785"/>
                  <a:pt x="11666310" y="3699785"/>
                </a:cubicBezTo>
                <a:cubicBezTo>
                  <a:pt x="11672784" y="3699806"/>
                  <a:pt x="11679232" y="3700561"/>
                  <a:pt x="11685535" y="3702035"/>
                </a:cubicBezTo>
                <a:lnTo>
                  <a:pt x="11690055" y="3703063"/>
                </a:lnTo>
                <a:lnTo>
                  <a:pt x="11687203" y="3699397"/>
                </a:lnTo>
                <a:cubicBezTo>
                  <a:pt x="11662392" y="3667486"/>
                  <a:pt x="11633856" y="3658310"/>
                  <a:pt x="11608424" y="3658349"/>
                </a:cubicBezTo>
                <a:cubicBezTo>
                  <a:pt x="11588404" y="3658349"/>
                  <a:pt x="11570285" y="3663936"/>
                  <a:pt x="11557075" y="3668262"/>
                </a:cubicBezTo>
                <a:cubicBezTo>
                  <a:pt x="11550634" y="3670357"/>
                  <a:pt x="11541711" y="3673131"/>
                  <a:pt x="11537889" y="3673092"/>
                </a:cubicBezTo>
                <a:cubicBezTo>
                  <a:pt x="11537538" y="3673098"/>
                  <a:pt x="11537187" y="3673065"/>
                  <a:pt x="11536842" y="3672995"/>
                </a:cubicBezTo>
                <a:cubicBezTo>
                  <a:pt x="11536842" y="3668359"/>
                  <a:pt x="11540275" y="3660502"/>
                  <a:pt x="11546657" y="3652199"/>
                </a:cubicBezTo>
                <a:cubicBezTo>
                  <a:pt x="11554499" y="3642155"/>
                  <a:pt x="11564151" y="3633668"/>
                  <a:pt x="11575116" y="3627175"/>
                </a:cubicBezTo>
                <a:lnTo>
                  <a:pt x="11579597" y="3624478"/>
                </a:lnTo>
                <a:lnTo>
                  <a:pt x="11574456" y="3624206"/>
                </a:lnTo>
                <a:cubicBezTo>
                  <a:pt x="11572187" y="3624032"/>
                  <a:pt x="11569839" y="3623954"/>
                  <a:pt x="11567492" y="3623954"/>
                </a:cubicBezTo>
                <a:cubicBezTo>
                  <a:pt x="11516259" y="3623993"/>
                  <a:pt x="11450419" y="3661065"/>
                  <a:pt x="11401805" y="3686283"/>
                </a:cubicBezTo>
                <a:cubicBezTo>
                  <a:pt x="11371465" y="3701802"/>
                  <a:pt x="11307817" y="3738796"/>
                  <a:pt x="11288670" y="3727409"/>
                </a:cubicBezTo>
                <a:cubicBezTo>
                  <a:pt x="11285470" y="3725469"/>
                  <a:pt x="11283413" y="3723529"/>
                  <a:pt x="11283413" y="3720387"/>
                </a:cubicBezTo>
                <a:cubicBezTo>
                  <a:pt x="11283413" y="3711948"/>
                  <a:pt x="11291425" y="3698446"/>
                  <a:pt x="11306265" y="3683684"/>
                </a:cubicBezTo>
                <a:cubicBezTo>
                  <a:pt x="11350650" y="3639163"/>
                  <a:pt x="11453523" y="3581820"/>
                  <a:pt x="11560082" y="3581878"/>
                </a:cubicBezTo>
                <a:close/>
                <a:moveTo>
                  <a:pt x="11560082" y="3558250"/>
                </a:moveTo>
                <a:cubicBezTo>
                  <a:pt x="11494009" y="3558250"/>
                  <a:pt x="11419594" y="3579957"/>
                  <a:pt x="11355248" y="3617960"/>
                </a:cubicBezTo>
                <a:cubicBezTo>
                  <a:pt x="11326460" y="3635070"/>
                  <a:pt x="11302735" y="3653499"/>
                  <a:pt x="11286090" y="3671191"/>
                </a:cubicBezTo>
                <a:cubicBezTo>
                  <a:pt x="11269446" y="3688883"/>
                  <a:pt x="11259902" y="3705799"/>
                  <a:pt x="11259863" y="3720367"/>
                </a:cubicBezTo>
                <a:cubicBezTo>
                  <a:pt x="11259824" y="3727394"/>
                  <a:pt x="11262663" y="3734131"/>
                  <a:pt x="11267720" y="3739010"/>
                </a:cubicBezTo>
                <a:cubicBezTo>
                  <a:pt x="11277109" y="3748263"/>
                  <a:pt x="11293753" y="3752589"/>
                  <a:pt x="11315014" y="3754820"/>
                </a:cubicBezTo>
                <a:cubicBezTo>
                  <a:pt x="11336276" y="3757051"/>
                  <a:pt x="11362193" y="3757128"/>
                  <a:pt x="11390088" y="3757128"/>
                </a:cubicBezTo>
                <a:lnTo>
                  <a:pt x="11395074" y="3757128"/>
                </a:lnTo>
                <a:cubicBezTo>
                  <a:pt x="11438081" y="3757128"/>
                  <a:pt x="11468460" y="3758292"/>
                  <a:pt x="11487898" y="3761008"/>
                </a:cubicBezTo>
                <a:cubicBezTo>
                  <a:pt x="11497597" y="3762424"/>
                  <a:pt x="11504581" y="3764286"/>
                  <a:pt x="11508907" y="3766478"/>
                </a:cubicBezTo>
                <a:cubicBezTo>
                  <a:pt x="11513233" y="3768671"/>
                  <a:pt x="11514727" y="3770901"/>
                  <a:pt x="11514727" y="3773346"/>
                </a:cubicBezTo>
                <a:cubicBezTo>
                  <a:pt x="11514727" y="3774354"/>
                  <a:pt x="11513621" y="3776624"/>
                  <a:pt x="11510963" y="3779165"/>
                </a:cubicBezTo>
                <a:cubicBezTo>
                  <a:pt x="11501671" y="3788477"/>
                  <a:pt x="11477287" y="3802289"/>
                  <a:pt x="11455346" y="3817478"/>
                </a:cubicBezTo>
                <a:cubicBezTo>
                  <a:pt x="11444887" y="3824421"/>
                  <a:pt x="11435140" y="3832381"/>
                  <a:pt x="11426248" y="3841242"/>
                </a:cubicBezTo>
                <a:cubicBezTo>
                  <a:pt x="11418488" y="3849390"/>
                  <a:pt x="11413309" y="3857731"/>
                  <a:pt x="11413231" y="3866344"/>
                </a:cubicBezTo>
                <a:lnTo>
                  <a:pt x="11413231" y="3866752"/>
                </a:lnTo>
                <a:cubicBezTo>
                  <a:pt x="11413231" y="3877693"/>
                  <a:pt x="11419051" y="3886461"/>
                  <a:pt x="11427936" y="3893231"/>
                </a:cubicBezTo>
                <a:cubicBezTo>
                  <a:pt x="11454609" y="3913697"/>
                  <a:pt x="11509858" y="3919051"/>
                  <a:pt x="11538762" y="3924270"/>
                </a:cubicBezTo>
                <a:cubicBezTo>
                  <a:pt x="11556590" y="3927509"/>
                  <a:pt x="11566037" y="3933853"/>
                  <a:pt x="11571158" y="3940739"/>
                </a:cubicBezTo>
                <a:cubicBezTo>
                  <a:pt x="11575438" y="3946970"/>
                  <a:pt x="11577564" y="3954429"/>
                  <a:pt x="11577211" y="3961981"/>
                </a:cubicBezTo>
                <a:cubicBezTo>
                  <a:pt x="11577211" y="3986754"/>
                  <a:pt x="11568016" y="4008539"/>
                  <a:pt x="11551507" y="4023573"/>
                </a:cubicBezTo>
                <a:cubicBezTo>
                  <a:pt x="11536861" y="4037152"/>
                  <a:pt x="11519169" y="4045765"/>
                  <a:pt x="11493407" y="4045804"/>
                </a:cubicBezTo>
                <a:lnTo>
                  <a:pt x="11490342" y="4045804"/>
                </a:lnTo>
                <a:cubicBezTo>
                  <a:pt x="11490938" y="4041003"/>
                  <a:pt x="11491242" y="4036171"/>
                  <a:pt x="11491254" y="4031333"/>
                </a:cubicBezTo>
                <a:cubicBezTo>
                  <a:pt x="11491196" y="4002486"/>
                  <a:pt x="11479712" y="3978063"/>
                  <a:pt x="11460254" y="3961186"/>
                </a:cubicBezTo>
                <a:cubicBezTo>
                  <a:pt x="11440855" y="3944309"/>
                  <a:pt x="11413425" y="3934803"/>
                  <a:pt x="11381689" y="3934803"/>
                </a:cubicBezTo>
                <a:cubicBezTo>
                  <a:pt x="11342522" y="3934803"/>
                  <a:pt x="11311096" y="3951060"/>
                  <a:pt x="11289563" y="3975173"/>
                </a:cubicBezTo>
                <a:cubicBezTo>
                  <a:pt x="11268236" y="3999322"/>
                  <a:pt x="11256418" y="4030403"/>
                  <a:pt x="11256313" y="4062623"/>
                </a:cubicBezTo>
                <a:cubicBezTo>
                  <a:pt x="11256313" y="4112090"/>
                  <a:pt x="11279146" y="4161791"/>
                  <a:pt x="11323608" y="4199037"/>
                </a:cubicBezTo>
                <a:cubicBezTo>
                  <a:pt x="11368071" y="4236283"/>
                  <a:pt x="11434182" y="4261113"/>
                  <a:pt x="11520760" y="4261113"/>
                </a:cubicBezTo>
                <a:cubicBezTo>
                  <a:pt x="11589374" y="4261113"/>
                  <a:pt x="11658590" y="4238455"/>
                  <a:pt x="11710967" y="4199037"/>
                </a:cubicBezTo>
                <a:cubicBezTo>
                  <a:pt x="11754362" y="4166349"/>
                  <a:pt x="11806216" y="4106775"/>
                  <a:pt x="11806196" y="4009043"/>
                </a:cubicBezTo>
                <a:cubicBezTo>
                  <a:pt x="11806196" y="3919614"/>
                  <a:pt x="11746176" y="3875423"/>
                  <a:pt x="11714556" y="3852164"/>
                </a:cubicBezTo>
                <a:cubicBezTo>
                  <a:pt x="11709149" y="3848381"/>
                  <a:pt x="11703968" y="3844288"/>
                  <a:pt x="11699036" y="3839904"/>
                </a:cubicBezTo>
                <a:cubicBezTo>
                  <a:pt x="11700666" y="3837071"/>
                  <a:pt x="11703576" y="3832707"/>
                  <a:pt x="11706195" y="3829001"/>
                </a:cubicBezTo>
                <a:cubicBezTo>
                  <a:pt x="11721384" y="3807003"/>
                  <a:pt x="11749842" y="3765373"/>
                  <a:pt x="11749842" y="3705973"/>
                </a:cubicBezTo>
                <a:cubicBezTo>
                  <a:pt x="11750048" y="3668328"/>
                  <a:pt x="11734663" y="3632276"/>
                  <a:pt x="11707339" y="3606379"/>
                </a:cubicBezTo>
                <a:cubicBezTo>
                  <a:pt x="11677271" y="3577998"/>
                  <a:pt x="11629743" y="3558250"/>
                  <a:pt x="11560082" y="3558250"/>
                </a:cubicBezTo>
                <a:close/>
                <a:moveTo>
                  <a:pt x="0" y="0"/>
                </a:moveTo>
                <a:lnTo>
                  <a:pt x="12192000" y="0"/>
                </a:lnTo>
                <a:lnTo>
                  <a:pt x="12192000" y="4732690"/>
                </a:lnTo>
                <a:lnTo>
                  <a:pt x="5087938" y="4732690"/>
                </a:lnTo>
                <a:lnTo>
                  <a:pt x="5087938" y="4732687"/>
                </a:lnTo>
                <a:lnTo>
                  <a:pt x="0" y="4732687"/>
                </a:lnTo>
                <a:close/>
              </a:path>
            </a:pathLst>
          </a:custGeom>
          <a:solidFill>
            <a:schemeClr val="bg1">
              <a:lumMod val="95000"/>
            </a:schemeClr>
          </a:solidFill>
        </p:spPr>
        <p:txBody>
          <a:bodyPr wrap="square">
            <a:noAutofit/>
          </a:bodyPr>
          <a:lstStyle/>
          <a:p>
            <a:r>
              <a:rPr lang="sv-SE"/>
              <a:t>Klicka på ikonen för att lägga till en bild</a:t>
            </a:r>
          </a:p>
        </p:txBody>
      </p:sp>
      <p:sp>
        <p:nvSpPr>
          <p:cNvPr id="2" name="Title 1">
            <a:extLst>
              <a:ext uri="{FF2B5EF4-FFF2-40B4-BE49-F238E27FC236}">
                <a16:creationId xmlns:a16="http://schemas.microsoft.com/office/drawing/2014/main" id="{D442F299-B172-417B-8E5F-CD5E11314A8D}"/>
              </a:ext>
            </a:extLst>
          </p:cNvPr>
          <p:cNvSpPr>
            <a:spLocks noGrp="1"/>
          </p:cNvSpPr>
          <p:nvPr>
            <p:ph type="title"/>
          </p:nvPr>
        </p:nvSpPr>
        <p:spPr/>
        <p:txBody>
          <a:bodyPr/>
          <a:lstStyle/>
          <a:p>
            <a:r>
              <a:rPr lang="sv-SE"/>
              <a:t>Klicka här för att ändra mall för rubrikformat</a:t>
            </a:r>
            <a:endParaRPr lang="sv-SE" dirty="0"/>
          </a:p>
        </p:txBody>
      </p:sp>
      <p:sp>
        <p:nvSpPr>
          <p:cNvPr id="7" name="Date Placeholder 6">
            <a:extLst>
              <a:ext uri="{FF2B5EF4-FFF2-40B4-BE49-F238E27FC236}">
                <a16:creationId xmlns:a16="http://schemas.microsoft.com/office/drawing/2014/main" id="{D0787942-6EB5-4F29-AAEF-BC1E306D163C}"/>
              </a:ext>
            </a:extLst>
          </p:cNvPr>
          <p:cNvSpPr>
            <a:spLocks noGrp="1"/>
          </p:cNvSpPr>
          <p:nvPr>
            <p:ph type="dt" sz="half" idx="15"/>
          </p:nvPr>
        </p:nvSpPr>
        <p:spPr/>
        <p:txBody>
          <a:bodyPr/>
          <a:lstStyle/>
          <a:p>
            <a:fld id="{B49C4185-79D5-447C-AF45-653E838AAE6F}" type="datetime1">
              <a:rPr lang="sv-SE" smtClean="0"/>
              <a:t>2024-08-20</a:t>
            </a:fld>
            <a:endParaRPr lang="sv-SE" dirty="0"/>
          </a:p>
        </p:txBody>
      </p:sp>
      <p:sp>
        <p:nvSpPr>
          <p:cNvPr id="8" name="Footer Placeholder 7">
            <a:extLst>
              <a:ext uri="{FF2B5EF4-FFF2-40B4-BE49-F238E27FC236}">
                <a16:creationId xmlns:a16="http://schemas.microsoft.com/office/drawing/2014/main" id="{9283235E-1E2D-4C71-A661-1FA33899CB38}"/>
              </a:ext>
            </a:extLst>
          </p:cNvPr>
          <p:cNvSpPr>
            <a:spLocks noGrp="1"/>
          </p:cNvSpPr>
          <p:nvPr>
            <p:ph type="ftr" sz="quarter" idx="16"/>
          </p:nvPr>
        </p:nvSpPr>
        <p:spPr/>
        <p:txBody>
          <a:bodyPr/>
          <a:lstStyle/>
          <a:p>
            <a:r>
              <a:rPr lang="sv-SE" sz="900" dirty="0"/>
              <a:t>Namn på presentation</a:t>
            </a:r>
          </a:p>
        </p:txBody>
      </p:sp>
      <p:sp>
        <p:nvSpPr>
          <p:cNvPr id="10" name="Slide Number Placeholder 9">
            <a:extLst>
              <a:ext uri="{FF2B5EF4-FFF2-40B4-BE49-F238E27FC236}">
                <a16:creationId xmlns:a16="http://schemas.microsoft.com/office/drawing/2014/main" id="{BFBB626C-33B1-459A-BEAE-CC1DC9775797}"/>
              </a:ext>
            </a:extLst>
          </p:cNvPr>
          <p:cNvSpPr>
            <a:spLocks noGrp="1"/>
          </p:cNvSpPr>
          <p:nvPr>
            <p:ph type="sldNum" sz="quarter" idx="17"/>
          </p:nvPr>
        </p:nvSpPr>
        <p:spPr/>
        <p:txBody>
          <a:bodyPr/>
          <a:lstStyle/>
          <a:p>
            <a:fld id="{AE086683-F536-42AB-ABBC-F4803DFE8DBC}" type="slidenum">
              <a:rPr lang="sv-SE" smtClean="0"/>
              <a:pPr/>
              <a:t>‹#›</a:t>
            </a:fld>
            <a:endParaRPr lang="sv-SE" dirty="0"/>
          </a:p>
        </p:txBody>
      </p:sp>
    </p:spTree>
    <p:extLst>
      <p:ext uri="{BB962C8B-B14F-4D97-AF65-F5344CB8AC3E}">
        <p14:creationId xmlns:p14="http://schemas.microsoft.com/office/powerpoint/2010/main" val="1281831038"/>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vsnittsrubrik - Tre Orange">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6EA362-9137-45DF-BEE4-B691A8719BDE}"/>
              </a:ext>
            </a:extLst>
          </p:cNvPr>
          <p:cNvSpPr>
            <a:spLocks noGrp="1"/>
          </p:cNvSpPr>
          <p:nvPr>
            <p:ph type="title"/>
          </p:nvPr>
        </p:nvSpPr>
        <p:spPr>
          <a:xfrm>
            <a:off x="838200" y="1412876"/>
            <a:ext cx="10515600" cy="2160588"/>
          </a:xfrm>
        </p:spPr>
        <p:txBody>
          <a:bodyPr anchor="b"/>
          <a:lstStyle>
            <a:lvl1pPr algn="ctr">
              <a:defRPr sz="4000">
                <a:solidFill>
                  <a:schemeClr val="tx1"/>
                </a:solidFill>
              </a:defRPr>
            </a:lvl1pPr>
          </a:lstStyle>
          <a:p>
            <a:r>
              <a:rPr lang="sv-SE"/>
              <a:t>Klicka här för att ändra mall för rubrikformat</a:t>
            </a:r>
            <a:endParaRPr lang="sv-SE" dirty="0"/>
          </a:p>
        </p:txBody>
      </p:sp>
      <p:sp>
        <p:nvSpPr>
          <p:cNvPr id="3" name="Platshållare för text 2">
            <a:extLst>
              <a:ext uri="{FF2B5EF4-FFF2-40B4-BE49-F238E27FC236}">
                <a16:creationId xmlns:a16="http://schemas.microsoft.com/office/drawing/2014/main" id="{81D78077-8D23-4A9C-AD57-B41C92D6A8D4}"/>
              </a:ext>
            </a:extLst>
          </p:cNvPr>
          <p:cNvSpPr>
            <a:spLocks noGrp="1"/>
          </p:cNvSpPr>
          <p:nvPr>
            <p:ph type="body" idx="1"/>
          </p:nvPr>
        </p:nvSpPr>
        <p:spPr>
          <a:xfrm>
            <a:off x="838200" y="3759201"/>
            <a:ext cx="10515600" cy="1685923"/>
          </a:xfrm>
        </p:spPr>
        <p:txBody>
          <a:bodyPr/>
          <a:lstStyle>
            <a:lvl1pPr marL="0" indent="0" algn="ctr">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15FD365D-8709-4288-B31C-9EDA4CFD9EE3}"/>
              </a:ext>
            </a:extLst>
          </p:cNvPr>
          <p:cNvSpPr>
            <a:spLocks noGrp="1"/>
          </p:cNvSpPr>
          <p:nvPr>
            <p:ph type="dt" sz="half" idx="10"/>
          </p:nvPr>
        </p:nvSpPr>
        <p:spPr/>
        <p:txBody>
          <a:bodyPr/>
          <a:lstStyle>
            <a:lvl1pPr>
              <a:defRPr>
                <a:solidFill>
                  <a:schemeClr val="tx1"/>
                </a:solidFill>
              </a:defRPr>
            </a:lvl1pPr>
          </a:lstStyle>
          <a:p>
            <a:fld id="{CA605BE0-8B4F-4CBF-834D-577F69A24292}" type="datetime1">
              <a:rPr lang="sv-SE" smtClean="0"/>
              <a:pPr/>
              <a:t>2024-08-20</a:t>
            </a:fld>
            <a:endParaRPr lang="sv-SE" dirty="0"/>
          </a:p>
        </p:txBody>
      </p:sp>
      <p:sp>
        <p:nvSpPr>
          <p:cNvPr id="5" name="Platshållare för sidfot 4">
            <a:extLst>
              <a:ext uri="{FF2B5EF4-FFF2-40B4-BE49-F238E27FC236}">
                <a16:creationId xmlns:a16="http://schemas.microsoft.com/office/drawing/2014/main" id="{0BEC5015-75F5-4019-9FE1-99AF477F6865}"/>
              </a:ext>
            </a:extLst>
          </p:cNvPr>
          <p:cNvSpPr>
            <a:spLocks noGrp="1"/>
          </p:cNvSpPr>
          <p:nvPr>
            <p:ph type="ftr" sz="quarter" idx="11"/>
          </p:nvPr>
        </p:nvSpPr>
        <p:spPr/>
        <p:txBody>
          <a:bodyPr/>
          <a:lstStyle>
            <a:lvl1pPr>
              <a:defRPr>
                <a:solidFill>
                  <a:schemeClr val="tx1"/>
                </a:solidFill>
              </a:defRPr>
            </a:lvl1pPr>
          </a:lstStyle>
          <a:p>
            <a:r>
              <a:rPr lang="sv-SE"/>
              <a:t>Namn på presentation</a:t>
            </a:r>
            <a:endParaRPr lang="sv-SE" dirty="0"/>
          </a:p>
        </p:txBody>
      </p:sp>
      <p:sp>
        <p:nvSpPr>
          <p:cNvPr id="6" name="Platshållare för bildnummer 5">
            <a:extLst>
              <a:ext uri="{FF2B5EF4-FFF2-40B4-BE49-F238E27FC236}">
                <a16:creationId xmlns:a16="http://schemas.microsoft.com/office/drawing/2014/main" id="{4DEBBFDA-2391-4373-9266-2ED5FFB6DB63}"/>
              </a:ext>
            </a:extLst>
          </p:cNvPr>
          <p:cNvSpPr>
            <a:spLocks noGrp="1"/>
          </p:cNvSpPr>
          <p:nvPr>
            <p:ph type="sldNum" sz="quarter" idx="12"/>
          </p:nvPr>
        </p:nvSpPr>
        <p:spPr>
          <a:solidFill>
            <a:schemeClr val="tx1"/>
          </a:solidFill>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3601858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25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Avsnittsrubrik - Neutral orange">
    <p:bg>
      <p:bgPr>
        <a:solidFill>
          <a:srgbClr val="FF8400"/>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6EA362-9137-45DF-BEE4-B691A8719BDE}"/>
              </a:ext>
            </a:extLst>
          </p:cNvPr>
          <p:cNvSpPr>
            <a:spLocks noGrp="1"/>
          </p:cNvSpPr>
          <p:nvPr>
            <p:ph type="title"/>
          </p:nvPr>
        </p:nvSpPr>
        <p:spPr>
          <a:xfrm>
            <a:off x="838200" y="1412876"/>
            <a:ext cx="10515600" cy="2160588"/>
          </a:xfrm>
        </p:spPr>
        <p:txBody>
          <a:bodyPr anchor="b"/>
          <a:lstStyle>
            <a:lvl1pPr algn="ctr">
              <a:defRPr sz="4000">
                <a:solidFill>
                  <a:schemeClr val="tx1"/>
                </a:solidFill>
              </a:defRPr>
            </a:lvl1pPr>
          </a:lstStyle>
          <a:p>
            <a:r>
              <a:rPr lang="sv-SE"/>
              <a:t>Klicka här för att ändra mall för rubrikformat</a:t>
            </a:r>
            <a:endParaRPr lang="sv-SE" dirty="0"/>
          </a:p>
        </p:txBody>
      </p:sp>
      <p:sp>
        <p:nvSpPr>
          <p:cNvPr id="3" name="Platshållare för text 2">
            <a:extLst>
              <a:ext uri="{FF2B5EF4-FFF2-40B4-BE49-F238E27FC236}">
                <a16:creationId xmlns:a16="http://schemas.microsoft.com/office/drawing/2014/main" id="{81D78077-8D23-4A9C-AD57-B41C92D6A8D4}"/>
              </a:ext>
            </a:extLst>
          </p:cNvPr>
          <p:cNvSpPr>
            <a:spLocks noGrp="1"/>
          </p:cNvSpPr>
          <p:nvPr>
            <p:ph type="body" idx="1"/>
          </p:nvPr>
        </p:nvSpPr>
        <p:spPr>
          <a:xfrm>
            <a:off x="838200" y="3752851"/>
            <a:ext cx="10515600" cy="1692273"/>
          </a:xfrm>
        </p:spPr>
        <p:txBody>
          <a:bodyPr/>
          <a:lstStyle>
            <a:lvl1pPr marL="0" indent="0" algn="ctr">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15FD365D-8709-4288-B31C-9EDA4CFD9EE3}"/>
              </a:ext>
            </a:extLst>
          </p:cNvPr>
          <p:cNvSpPr>
            <a:spLocks noGrp="1"/>
          </p:cNvSpPr>
          <p:nvPr>
            <p:ph type="dt" sz="half" idx="10"/>
          </p:nvPr>
        </p:nvSpPr>
        <p:spPr/>
        <p:txBody>
          <a:bodyPr/>
          <a:lstStyle>
            <a:lvl1pPr>
              <a:defRPr>
                <a:solidFill>
                  <a:schemeClr val="tx1"/>
                </a:solidFill>
              </a:defRPr>
            </a:lvl1pPr>
          </a:lstStyle>
          <a:p>
            <a:fld id="{296CCB33-B417-40E4-93B3-1AA8D43E8375}" type="datetime1">
              <a:rPr lang="sv-SE" smtClean="0"/>
              <a:pPr/>
              <a:t>2024-08-20</a:t>
            </a:fld>
            <a:endParaRPr lang="sv-SE" dirty="0"/>
          </a:p>
        </p:txBody>
      </p:sp>
      <p:sp>
        <p:nvSpPr>
          <p:cNvPr id="5" name="Platshållare för sidfot 4">
            <a:extLst>
              <a:ext uri="{FF2B5EF4-FFF2-40B4-BE49-F238E27FC236}">
                <a16:creationId xmlns:a16="http://schemas.microsoft.com/office/drawing/2014/main" id="{0BEC5015-75F5-4019-9FE1-99AF477F6865}"/>
              </a:ext>
            </a:extLst>
          </p:cNvPr>
          <p:cNvSpPr>
            <a:spLocks noGrp="1"/>
          </p:cNvSpPr>
          <p:nvPr>
            <p:ph type="ftr" sz="quarter" idx="11"/>
          </p:nvPr>
        </p:nvSpPr>
        <p:spPr/>
        <p:txBody>
          <a:bodyPr/>
          <a:lstStyle>
            <a:lvl1pPr>
              <a:defRPr>
                <a:solidFill>
                  <a:schemeClr val="tx1"/>
                </a:solidFill>
              </a:defRPr>
            </a:lvl1pPr>
          </a:lstStyle>
          <a:p>
            <a:r>
              <a:rPr lang="sv-SE"/>
              <a:t>Namn på presentation</a:t>
            </a:r>
            <a:endParaRPr lang="sv-SE" dirty="0"/>
          </a:p>
        </p:txBody>
      </p:sp>
      <p:sp>
        <p:nvSpPr>
          <p:cNvPr id="6" name="Platshållare för bildnummer 5">
            <a:extLst>
              <a:ext uri="{FF2B5EF4-FFF2-40B4-BE49-F238E27FC236}">
                <a16:creationId xmlns:a16="http://schemas.microsoft.com/office/drawing/2014/main" id="{4DEBBFDA-2391-4373-9266-2ED5FFB6DB63}"/>
              </a:ext>
            </a:extLst>
          </p:cNvPr>
          <p:cNvSpPr>
            <a:spLocks noGrp="1"/>
          </p:cNvSpPr>
          <p:nvPr>
            <p:ph type="sldNum" sz="quarter" idx="12"/>
          </p:nvPr>
        </p:nvSpPr>
        <p:spPr>
          <a:solidFill>
            <a:schemeClr val="tx1"/>
          </a:solidFill>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3306857017"/>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Avsnittsrubrik - Ljus orange">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6EA362-9137-45DF-BEE4-B691A8719BDE}"/>
              </a:ext>
            </a:extLst>
          </p:cNvPr>
          <p:cNvSpPr>
            <a:spLocks noGrp="1"/>
          </p:cNvSpPr>
          <p:nvPr>
            <p:ph type="title"/>
          </p:nvPr>
        </p:nvSpPr>
        <p:spPr>
          <a:xfrm>
            <a:off x="838200" y="1412876"/>
            <a:ext cx="10515600" cy="2160588"/>
          </a:xfrm>
        </p:spPr>
        <p:txBody>
          <a:bodyPr anchor="b"/>
          <a:lstStyle>
            <a:lvl1pPr algn="ctr">
              <a:defRPr sz="4000">
                <a:solidFill>
                  <a:schemeClr val="tx1"/>
                </a:solidFill>
              </a:defRPr>
            </a:lvl1pPr>
          </a:lstStyle>
          <a:p>
            <a:r>
              <a:rPr lang="sv-SE"/>
              <a:t>Klicka här för att ändra mall för rubrikformat</a:t>
            </a:r>
            <a:endParaRPr lang="sv-SE" dirty="0"/>
          </a:p>
        </p:txBody>
      </p:sp>
      <p:sp>
        <p:nvSpPr>
          <p:cNvPr id="3" name="Platshållare för text 2">
            <a:extLst>
              <a:ext uri="{FF2B5EF4-FFF2-40B4-BE49-F238E27FC236}">
                <a16:creationId xmlns:a16="http://schemas.microsoft.com/office/drawing/2014/main" id="{81D78077-8D23-4A9C-AD57-B41C92D6A8D4}"/>
              </a:ext>
            </a:extLst>
          </p:cNvPr>
          <p:cNvSpPr>
            <a:spLocks noGrp="1"/>
          </p:cNvSpPr>
          <p:nvPr>
            <p:ph type="body" idx="1"/>
          </p:nvPr>
        </p:nvSpPr>
        <p:spPr>
          <a:xfrm>
            <a:off x="838200" y="3752851"/>
            <a:ext cx="10515600" cy="1692273"/>
          </a:xfrm>
        </p:spPr>
        <p:txBody>
          <a:bodyPr/>
          <a:lstStyle>
            <a:lvl1pPr marL="0" indent="0" algn="ctr">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15FD365D-8709-4288-B31C-9EDA4CFD9EE3}"/>
              </a:ext>
            </a:extLst>
          </p:cNvPr>
          <p:cNvSpPr>
            <a:spLocks noGrp="1"/>
          </p:cNvSpPr>
          <p:nvPr>
            <p:ph type="dt" sz="half" idx="10"/>
          </p:nvPr>
        </p:nvSpPr>
        <p:spPr/>
        <p:txBody>
          <a:bodyPr/>
          <a:lstStyle>
            <a:lvl1pPr>
              <a:defRPr>
                <a:solidFill>
                  <a:schemeClr val="tx1"/>
                </a:solidFill>
              </a:defRPr>
            </a:lvl1pPr>
          </a:lstStyle>
          <a:p>
            <a:fld id="{41C3EFBA-1AF6-4044-9C28-5832063ED182}" type="datetime1">
              <a:rPr lang="sv-SE" smtClean="0"/>
              <a:pPr/>
              <a:t>2024-08-20</a:t>
            </a:fld>
            <a:endParaRPr lang="sv-SE" dirty="0"/>
          </a:p>
        </p:txBody>
      </p:sp>
      <p:sp>
        <p:nvSpPr>
          <p:cNvPr id="5" name="Platshållare för sidfot 4">
            <a:extLst>
              <a:ext uri="{FF2B5EF4-FFF2-40B4-BE49-F238E27FC236}">
                <a16:creationId xmlns:a16="http://schemas.microsoft.com/office/drawing/2014/main" id="{0BEC5015-75F5-4019-9FE1-99AF477F6865}"/>
              </a:ext>
            </a:extLst>
          </p:cNvPr>
          <p:cNvSpPr>
            <a:spLocks noGrp="1"/>
          </p:cNvSpPr>
          <p:nvPr>
            <p:ph type="ftr" sz="quarter" idx="11"/>
          </p:nvPr>
        </p:nvSpPr>
        <p:spPr/>
        <p:txBody>
          <a:bodyPr/>
          <a:lstStyle>
            <a:lvl1pPr>
              <a:defRPr>
                <a:solidFill>
                  <a:schemeClr val="tx1"/>
                </a:solidFill>
              </a:defRPr>
            </a:lvl1pPr>
          </a:lstStyle>
          <a:p>
            <a:r>
              <a:rPr lang="sv-SE"/>
              <a:t>Namn på presentation</a:t>
            </a:r>
            <a:endParaRPr lang="sv-SE" dirty="0"/>
          </a:p>
        </p:txBody>
      </p:sp>
      <p:sp>
        <p:nvSpPr>
          <p:cNvPr id="6" name="Platshållare för bildnummer 5">
            <a:extLst>
              <a:ext uri="{FF2B5EF4-FFF2-40B4-BE49-F238E27FC236}">
                <a16:creationId xmlns:a16="http://schemas.microsoft.com/office/drawing/2014/main" id="{4DEBBFDA-2391-4373-9266-2ED5FFB6DB63}"/>
              </a:ext>
            </a:extLst>
          </p:cNvPr>
          <p:cNvSpPr>
            <a:spLocks noGrp="1"/>
          </p:cNvSpPr>
          <p:nvPr>
            <p:ph type="sldNum" sz="quarter" idx="12"/>
          </p:nvPr>
        </p:nvSpPr>
        <p:spPr>
          <a:solidFill>
            <a:schemeClr val="tx1"/>
          </a:solidFill>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17797476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Avsnittsrubrik -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6EA362-9137-45DF-BEE4-B691A8719BDE}"/>
              </a:ext>
            </a:extLst>
          </p:cNvPr>
          <p:cNvSpPr>
            <a:spLocks noGrp="1"/>
          </p:cNvSpPr>
          <p:nvPr>
            <p:ph type="title"/>
          </p:nvPr>
        </p:nvSpPr>
        <p:spPr>
          <a:xfrm>
            <a:off x="838200" y="1412876"/>
            <a:ext cx="10515600" cy="2160588"/>
          </a:xfrm>
        </p:spPr>
        <p:txBody>
          <a:bodyPr anchor="b"/>
          <a:lstStyle>
            <a:lvl1pPr algn="ctr">
              <a:defRPr sz="4000">
                <a:solidFill>
                  <a:schemeClr val="accent1"/>
                </a:solidFill>
              </a:defRPr>
            </a:lvl1pPr>
          </a:lstStyle>
          <a:p>
            <a:r>
              <a:rPr lang="sv-SE"/>
              <a:t>Klicka här för att ändra mall för rubrikformat</a:t>
            </a:r>
            <a:endParaRPr lang="sv-SE" dirty="0"/>
          </a:p>
        </p:txBody>
      </p:sp>
      <p:sp>
        <p:nvSpPr>
          <p:cNvPr id="3" name="Platshållare för text 2">
            <a:extLst>
              <a:ext uri="{FF2B5EF4-FFF2-40B4-BE49-F238E27FC236}">
                <a16:creationId xmlns:a16="http://schemas.microsoft.com/office/drawing/2014/main" id="{81D78077-8D23-4A9C-AD57-B41C92D6A8D4}"/>
              </a:ext>
            </a:extLst>
          </p:cNvPr>
          <p:cNvSpPr>
            <a:spLocks noGrp="1"/>
          </p:cNvSpPr>
          <p:nvPr>
            <p:ph type="body" idx="1"/>
          </p:nvPr>
        </p:nvSpPr>
        <p:spPr>
          <a:xfrm>
            <a:off x="838200" y="3752851"/>
            <a:ext cx="10515600" cy="2336800"/>
          </a:xfrm>
        </p:spPr>
        <p:txBody>
          <a:bodyPr/>
          <a:lstStyle>
            <a:lvl1pPr marL="0" indent="0" algn="ctr">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15FD365D-8709-4288-B31C-9EDA4CFD9EE3}"/>
              </a:ext>
            </a:extLst>
          </p:cNvPr>
          <p:cNvSpPr>
            <a:spLocks noGrp="1"/>
          </p:cNvSpPr>
          <p:nvPr>
            <p:ph type="dt" sz="half" idx="10"/>
          </p:nvPr>
        </p:nvSpPr>
        <p:spPr/>
        <p:txBody>
          <a:bodyPr/>
          <a:lstStyle/>
          <a:p>
            <a:fld id="{335C8AEC-6E27-4C72-8DA7-77877F85B0B6}" type="datetime1">
              <a:rPr lang="sv-SE" smtClean="0"/>
              <a:t>2024-08-20</a:t>
            </a:fld>
            <a:endParaRPr lang="sv-SE" dirty="0"/>
          </a:p>
        </p:txBody>
      </p:sp>
      <p:sp>
        <p:nvSpPr>
          <p:cNvPr id="5" name="Platshållare för sidfot 4">
            <a:extLst>
              <a:ext uri="{FF2B5EF4-FFF2-40B4-BE49-F238E27FC236}">
                <a16:creationId xmlns:a16="http://schemas.microsoft.com/office/drawing/2014/main" id="{0BEC5015-75F5-4019-9FE1-99AF477F6865}"/>
              </a:ext>
            </a:extLst>
          </p:cNvPr>
          <p:cNvSpPr>
            <a:spLocks noGrp="1"/>
          </p:cNvSpPr>
          <p:nvPr>
            <p:ph type="ftr" sz="quarter" idx="11"/>
          </p:nvPr>
        </p:nvSpPr>
        <p:spPr/>
        <p:txBody>
          <a:bodyPr/>
          <a:lstStyle/>
          <a:p>
            <a:r>
              <a:rPr lang="sv-SE" dirty="0"/>
              <a:t>Namn på presentation</a:t>
            </a:r>
          </a:p>
        </p:txBody>
      </p:sp>
      <p:sp>
        <p:nvSpPr>
          <p:cNvPr id="6" name="Platshållare för bildnummer 5">
            <a:extLst>
              <a:ext uri="{FF2B5EF4-FFF2-40B4-BE49-F238E27FC236}">
                <a16:creationId xmlns:a16="http://schemas.microsoft.com/office/drawing/2014/main" id="{4DEBBFDA-2391-4373-9266-2ED5FFB6DB63}"/>
              </a:ext>
            </a:extLst>
          </p:cNvPr>
          <p:cNvSpPr>
            <a:spLocks noGrp="1"/>
          </p:cNvSpPr>
          <p:nvPr>
            <p:ph type="sldNum" sz="quarter" idx="12"/>
          </p:nvPr>
        </p:nvSpPr>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10923949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94DD60AF-FC73-41DA-8ECD-F5290F6D92CF}"/>
              </a:ext>
            </a:extLst>
          </p:cNvPr>
          <p:cNvSpPr>
            <a:spLocks noGrp="1"/>
          </p:cNvSpPr>
          <p:nvPr>
            <p:ph idx="1"/>
          </p:nvPr>
        </p:nvSpPr>
        <p:spPr>
          <a:xfrm>
            <a:off x="803275" y="2205037"/>
            <a:ext cx="8316913" cy="397192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p>
            <a:fld id="{96C847D3-728F-48E1-88F9-C80C12D288B3}"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2" name="Title 1">
            <a:extLst>
              <a:ext uri="{FF2B5EF4-FFF2-40B4-BE49-F238E27FC236}">
                <a16:creationId xmlns:a16="http://schemas.microsoft.com/office/drawing/2014/main" id="{27D8F589-4048-4B3D-8312-9BF24836A62B}"/>
              </a:ext>
            </a:extLst>
          </p:cNvPr>
          <p:cNvSpPr>
            <a:spLocks noGrp="1"/>
          </p:cNvSpPr>
          <p:nvPr>
            <p:ph type="title"/>
          </p:nvPr>
        </p:nvSpPr>
        <p:spPr/>
        <p:txBody>
          <a:bodyPr/>
          <a:lstStyle/>
          <a:p>
            <a:r>
              <a:rPr lang="sv-SE"/>
              <a:t>Klicka här för att ändra mall för rubrikformat</a:t>
            </a:r>
            <a:endParaRPr lang="sv-SE" dirty="0"/>
          </a:p>
        </p:txBody>
      </p:sp>
      <p:pic>
        <p:nvPicPr>
          <p:cNvPr id="25" name="Bild 24">
            <a:extLst>
              <a:ext uri="{FF2B5EF4-FFF2-40B4-BE49-F238E27FC236}">
                <a16:creationId xmlns:a16="http://schemas.microsoft.com/office/drawing/2014/main" id="{078116B0-3961-4EE4-A238-8889EFE0C0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40957" y="3703320"/>
            <a:ext cx="1629102" cy="2671035"/>
          </a:xfrm>
          <a:prstGeom prst="rect">
            <a:avLst/>
          </a:prstGeom>
        </p:spPr>
      </p:pic>
    </p:spTree>
    <p:extLst>
      <p:ext uri="{BB962C8B-B14F-4D97-AF65-F5344CB8AC3E}">
        <p14:creationId xmlns:p14="http://schemas.microsoft.com/office/powerpoint/2010/main" val="990508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571902-9019-4326-9DA4-70B9743B49ED}"/>
              </a:ext>
            </a:extLst>
          </p:cNvPr>
          <p:cNvSpPr>
            <a:spLocks noGrp="1"/>
          </p:cNvSpPr>
          <p:nvPr>
            <p:ph type="title"/>
          </p:nvPr>
        </p:nvSpPr>
        <p:spPr/>
        <p:txBody>
          <a:bodyPr/>
          <a:lstStyle/>
          <a:p>
            <a:r>
              <a:rPr lang="sv-SE"/>
              <a:t>Klicka här för att ändra mall för rubrikformat</a:t>
            </a:r>
            <a:endParaRPr lang="sv-SE" dirty="0"/>
          </a:p>
        </p:txBody>
      </p:sp>
      <p:sp>
        <p:nvSpPr>
          <p:cNvPr id="3" name="Platshållare för datum 2">
            <a:extLst>
              <a:ext uri="{FF2B5EF4-FFF2-40B4-BE49-F238E27FC236}">
                <a16:creationId xmlns:a16="http://schemas.microsoft.com/office/drawing/2014/main" id="{4B906970-3E04-4D0D-B628-981C4A918A6F}"/>
              </a:ext>
            </a:extLst>
          </p:cNvPr>
          <p:cNvSpPr>
            <a:spLocks noGrp="1"/>
          </p:cNvSpPr>
          <p:nvPr>
            <p:ph type="dt" sz="half" idx="10"/>
          </p:nvPr>
        </p:nvSpPr>
        <p:spPr/>
        <p:txBody>
          <a:bodyPr/>
          <a:lstStyle/>
          <a:p>
            <a:fld id="{C8147589-F383-411C-A07E-88A31C559889}" type="datetime1">
              <a:rPr lang="sv-SE" smtClean="0"/>
              <a:t>2024-08-20</a:t>
            </a:fld>
            <a:endParaRPr lang="sv-SE" dirty="0"/>
          </a:p>
        </p:txBody>
      </p:sp>
      <p:sp>
        <p:nvSpPr>
          <p:cNvPr id="4" name="Platshållare för sidfot 3">
            <a:extLst>
              <a:ext uri="{FF2B5EF4-FFF2-40B4-BE49-F238E27FC236}">
                <a16:creationId xmlns:a16="http://schemas.microsoft.com/office/drawing/2014/main" id="{86059243-015F-4404-ADE1-14E49E0315F6}"/>
              </a:ext>
            </a:extLst>
          </p:cNvPr>
          <p:cNvSpPr>
            <a:spLocks noGrp="1"/>
          </p:cNvSpPr>
          <p:nvPr>
            <p:ph type="ftr" sz="quarter" idx="11"/>
          </p:nvPr>
        </p:nvSpPr>
        <p:spPr/>
        <p:txBody>
          <a:bodyPr/>
          <a:lstStyle/>
          <a:p>
            <a:r>
              <a:rPr lang="sv-SE" dirty="0"/>
              <a:t>Namn på presentation</a:t>
            </a:r>
          </a:p>
        </p:txBody>
      </p:sp>
      <p:sp>
        <p:nvSpPr>
          <p:cNvPr id="5" name="Platshållare för bildnummer 4">
            <a:extLst>
              <a:ext uri="{FF2B5EF4-FFF2-40B4-BE49-F238E27FC236}">
                <a16:creationId xmlns:a16="http://schemas.microsoft.com/office/drawing/2014/main" id="{3F1E028D-3B14-4181-8E8B-87D9D42D9C5D}"/>
              </a:ext>
            </a:extLst>
          </p:cNvPr>
          <p:cNvSpPr>
            <a:spLocks noGrp="1"/>
          </p:cNvSpPr>
          <p:nvPr>
            <p:ph type="sldNum" sz="quarter" idx="12"/>
          </p:nvPr>
        </p:nvSpPr>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21932127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Endast rubrik - utan logg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571902-9019-4326-9DA4-70B9743B49ED}"/>
              </a:ext>
            </a:extLst>
          </p:cNvPr>
          <p:cNvSpPr>
            <a:spLocks noGrp="1"/>
          </p:cNvSpPr>
          <p:nvPr>
            <p:ph type="title"/>
          </p:nvPr>
        </p:nvSpPr>
        <p:spPr/>
        <p:txBody>
          <a:bodyPr/>
          <a:lstStyle/>
          <a:p>
            <a:r>
              <a:rPr lang="sv-SE"/>
              <a:t>Klicka här för att ändra mall för rubrikformat</a:t>
            </a:r>
            <a:endParaRPr lang="sv-SE" dirty="0"/>
          </a:p>
        </p:txBody>
      </p:sp>
      <p:sp>
        <p:nvSpPr>
          <p:cNvPr id="6" name="Date Placeholder 5">
            <a:extLst>
              <a:ext uri="{FF2B5EF4-FFF2-40B4-BE49-F238E27FC236}">
                <a16:creationId xmlns:a16="http://schemas.microsoft.com/office/drawing/2014/main" id="{14E306EC-E49A-4432-8BA9-A694043273A7}"/>
              </a:ext>
            </a:extLst>
          </p:cNvPr>
          <p:cNvSpPr>
            <a:spLocks noGrp="1"/>
          </p:cNvSpPr>
          <p:nvPr>
            <p:ph type="dt" sz="half" idx="10"/>
          </p:nvPr>
        </p:nvSpPr>
        <p:spPr/>
        <p:txBody>
          <a:bodyPr/>
          <a:lstStyle/>
          <a:p>
            <a:fld id="{8BF717D7-9E65-4042-A38D-B8C2494C379B}" type="datetime1">
              <a:rPr lang="sv-SE" smtClean="0"/>
              <a:t>2024-08-20</a:t>
            </a:fld>
            <a:endParaRPr lang="sv-SE" dirty="0"/>
          </a:p>
        </p:txBody>
      </p:sp>
      <p:sp>
        <p:nvSpPr>
          <p:cNvPr id="7" name="Footer Placeholder 6">
            <a:extLst>
              <a:ext uri="{FF2B5EF4-FFF2-40B4-BE49-F238E27FC236}">
                <a16:creationId xmlns:a16="http://schemas.microsoft.com/office/drawing/2014/main" id="{604BC982-791C-43F7-80A9-B7CF5508CEBD}"/>
              </a:ext>
            </a:extLst>
          </p:cNvPr>
          <p:cNvSpPr>
            <a:spLocks noGrp="1"/>
          </p:cNvSpPr>
          <p:nvPr>
            <p:ph type="ftr" sz="quarter" idx="11"/>
          </p:nvPr>
        </p:nvSpPr>
        <p:spPr/>
        <p:txBody>
          <a:bodyPr/>
          <a:lstStyle/>
          <a:p>
            <a:r>
              <a:rPr lang="sv-SE" dirty="0"/>
              <a:t>Namn på presentation</a:t>
            </a:r>
          </a:p>
        </p:txBody>
      </p:sp>
      <p:sp>
        <p:nvSpPr>
          <p:cNvPr id="8" name="Slide Number Placeholder 7">
            <a:extLst>
              <a:ext uri="{FF2B5EF4-FFF2-40B4-BE49-F238E27FC236}">
                <a16:creationId xmlns:a16="http://schemas.microsoft.com/office/drawing/2014/main" id="{CFB08B34-6B49-418B-BB1C-19004ACF1B13}"/>
              </a:ext>
            </a:extLst>
          </p:cNvPr>
          <p:cNvSpPr>
            <a:spLocks noGrp="1"/>
          </p:cNvSpPr>
          <p:nvPr>
            <p:ph type="sldNum" sz="quarter" idx="12"/>
          </p:nvPr>
        </p:nvSpPr>
        <p:spPr/>
        <p:txBody>
          <a:bodyPr/>
          <a:lstStyle/>
          <a:p>
            <a:fld id="{AE086683-F536-42AB-ABBC-F4803DFE8DBC}" type="slidenum">
              <a:rPr lang="sv-SE" smtClean="0"/>
              <a:pPr/>
              <a:t>‹#›</a:t>
            </a:fld>
            <a:endParaRPr lang="sv-SE" dirty="0"/>
          </a:p>
        </p:txBody>
      </p:sp>
    </p:spTree>
    <p:extLst>
      <p:ext uri="{BB962C8B-B14F-4D97-AF65-F5344CB8AC3E}">
        <p14:creationId xmlns:p14="http://schemas.microsoft.com/office/powerpoint/2010/main" val="36422359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EF0C26C3-B13E-495A-A6E4-2EC4E724A264}"/>
              </a:ext>
            </a:extLst>
          </p:cNvPr>
          <p:cNvSpPr>
            <a:spLocks noGrp="1"/>
          </p:cNvSpPr>
          <p:nvPr>
            <p:ph type="dt" sz="half" idx="10"/>
          </p:nvPr>
        </p:nvSpPr>
        <p:spPr/>
        <p:txBody>
          <a:bodyPr/>
          <a:lstStyle/>
          <a:p>
            <a:fld id="{DB344CB8-0F82-43B4-B04C-3488E3271C55}" type="datetime1">
              <a:rPr lang="sv-SE" smtClean="0"/>
              <a:t>2024-08-20</a:t>
            </a:fld>
            <a:endParaRPr lang="sv-SE" dirty="0"/>
          </a:p>
        </p:txBody>
      </p:sp>
      <p:sp>
        <p:nvSpPr>
          <p:cNvPr id="3" name="Platshållare för sidfot 2">
            <a:extLst>
              <a:ext uri="{FF2B5EF4-FFF2-40B4-BE49-F238E27FC236}">
                <a16:creationId xmlns:a16="http://schemas.microsoft.com/office/drawing/2014/main" id="{BF95847E-A091-4B48-90CC-8498D25ED01A}"/>
              </a:ext>
            </a:extLst>
          </p:cNvPr>
          <p:cNvSpPr>
            <a:spLocks noGrp="1"/>
          </p:cNvSpPr>
          <p:nvPr>
            <p:ph type="ftr" sz="quarter" idx="11"/>
          </p:nvPr>
        </p:nvSpPr>
        <p:spPr/>
        <p:txBody>
          <a:bodyPr/>
          <a:lstStyle/>
          <a:p>
            <a:r>
              <a:rPr lang="sv-SE" dirty="0"/>
              <a:t>Namn på presentation</a:t>
            </a:r>
          </a:p>
        </p:txBody>
      </p:sp>
      <p:sp>
        <p:nvSpPr>
          <p:cNvPr id="4" name="Platshållare för bildnummer 3">
            <a:extLst>
              <a:ext uri="{FF2B5EF4-FFF2-40B4-BE49-F238E27FC236}">
                <a16:creationId xmlns:a16="http://schemas.microsoft.com/office/drawing/2014/main" id="{81B4C505-33E4-4681-8C5B-77BB1E17C2CB}"/>
              </a:ext>
            </a:extLst>
          </p:cNvPr>
          <p:cNvSpPr>
            <a:spLocks noGrp="1"/>
          </p:cNvSpPr>
          <p:nvPr>
            <p:ph type="sldNum" sz="quarter" idx="12"/>
          </p:nvPr>
        </p:nvSpPr>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1800422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vslut">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BE8614F-2751-4F27-9E58-06A6066A1F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Underrubrik 2">
            <a:extLst>
              <a:ext uri="{FF2B5EF4-FFF2-40B4-BE49-F238E27FC236}">
                <a16:creationId xmlns:a16="http://schemas.microsoft.com/office/drawing/2014/main" id="{0B04F11C-8931-4F2C-862F-B58C9926FB12}"/>
              </a:ext>
            </a:extLst>
          </p:cNvPr>
          <p:cNvSpPr>
            <a:spLocks noGrp="1"/>
          </p:cNvSpPr>
          <p:nvPr>
            <p:ph type="subTitle" idx="1"/>
          </p:nvPr>
        </p:nvSpPr>
        <p:spPr>
          <a:xfrm>
            <a:off x="803274" y="2830147"/>
            <a:ext cx="6300789" cy="2412414"/>
          </a:xfrm>
        </p:spPr>
        <p:txBody>
          <a:bodyPr anchor="b"/>
          <a:lstStyle>
            <a:lvl1pPr marL="0" indent="0" algn="l">
              <a:spcBef>
                <a:spcPts val="300"/>
              </a:spcBef>
              <a:spcAft>
                <a:spcPts val="30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8" name="Title 7">
            <a:extLst>
              <a:ext uri="{FF2B5EF4-FFF2-40B4-BE49-F238E27FC236}">
                <a16:creationId xmlns:a16="http://schemas.microsoft.com/office/drawing/2014/main" id="{343F0F76-4B95-4867-BC1B-E7E83B8CA5CB}"/>
              </a:ext>
            </a:extLst>
          </p:cNvPr>
          <p:cNvSpPr>
            <a:spLocks noGrp="1"/>
          </p:cNvSpPr>
          <p:nvPr>
            <p:ph type="title"/>
          </p:nvPr>
        </p:nvSpPr>
        <p:spPr>
          <a:xfrm>
            <a:off x="803274" y="1089024"/>
            <a:ext cx="10872785" cy="1547813"/>
          </a:xfrm>
        </p:spPr>
        <p:txBody>
          <a:bodyPr/>
          <a:lstStyle>
            <a:lvl1pPr>
              <a:defRPr sz="4000">
                <a:solidFill>
                  <a:schemeClr val="bg1"/>
                </a:solidFill>
              </a:defRPr>
            </a:lvl1pPr>
          </a:lstStyle>
          <a:p>
            <a:r>
              <a:rPr lang="sv-SE"/>
              <a:t>Klicka här för att ändra mall för rubrikformat</a:t>
            </a:r>
            <a:endParaRPr lang="sv-SE" dirty="0"/>
          </a:p>
        </p:txBody>
      </p:sp>
      <p:grpSp>
        <p:nvGrpSpPr>
          <p:cNvPr id="5" name="Grupp 4">
            <a:extLst>
              <a:ext uri="{FF2B5EF4-FFF2-40B4-BE49-F238E27FC236}">
                <a16:creationId xmlns:a16="http://schemas.microsoft.com/office/drawing/2014/main" id="{D013D975-FC67-4058-B0B7-7B1E7E3E0238}"/>
              </a:ext>
            </a:extLst>
          </p:cNvPr>
          <p:cNvGrpSpPr/>
          <p:nvPr userDrawn="1"/>
        </p:nvGrpSpPr>
        <p:grpSpPr>
          <a:xfrm>
            <a:off x="792831" y="5885410"/>
            <a:ext cx="2032721" cy="486000"/>
            <a:chOff x="792831" y="5885410"/>
            <a:chExt cx="2032721" cy="486000"/>
          </a:xfrm>
        </p:grpSpPr>
        <p:pic>
          <p:nvPicPr>
            <p:cNvPr id="4" name="Graphic 3">
              <a:extLst>
                <a:ext uri="{FF2B5EF4-FFF2-40B4-BE49-F238E27FC236}">
                  <a16:creationId xmlns:a16="http://schemas.microsoft.com/office/drawing/2014/main" id="{3E0111E1-4912-40C1-A8CD-37ABF9520B4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2831" y="5885410"/>
              <a:ext cx="484909" cy="484909"/>
            </a:xfrm>
            <a:prstGeom prst="rect">
              <a:avLst/>
            </a:prstGeom>
          </p:spPr>
        </p:pic>
        <p:pic>
          <p:nvPicPr>
            <p:cNvPr id="9" name="Graphic 8">
              <a:extLst>
                <a:ext uri="{FF2B5EF4-FFF2-40B4-BE49-F238E27FC236}">
                  <a16:creationId xmlns:a16="http://schemas.microsoft.com/office/drawing/2014/main" id="{D2A19C05-91FD-4665-A591-CB3A8FCA4B3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40643" y="5885410"/>
              <a:ext cx="484909" cy="484909"/>
            </a:xfrm>
            <a:prstGeom prst="rect">
              <a:avLst/>
            </a:prstGeom>
          </p:spPr>
        </p:pic>
        <p:grpSp>
          <p:nvGrpSpPr>
            <p:cNvPr id="25" name="Grupp 24">
              <a:extLst>
                <a:ext uri="{FF2B5EF4-FFF2-40B4-BE49-F238E27FC236}">
                  <a16:creationId xmlns:a16="http://schemas.microsoft.com/office/drawing/2014/main" id="{0E4DD0BB-762F-4D85-868D-7E397322B662}"/>
                </a:ext>
              </a:extLst>
            </p:cNvPr>
            <p:cNvGrpSpPr/>
            <p:nvPr userDrawn="1"/>
          </p:nvGrpSpPr>
          <p:grpSpPr>
            <a:xfrm>
              <a:off x="1566191" y="5885410"/>
              <a:ext cx="486000" cy="486000"/>
              <a:chOff x="1576069" y="5879464"/>
              <a:chExt cx="468636" cy="468630"/>
            </a:xfrm>
            <a:solidFill>
              <a:schemeClr val="bg1"/>
            </a:solidFill>
          </p:grpSpPr>
          <p:sp>
            <p:nvSpPr>
              <p:cNvPr id="26" name="Frihandsfigur: Form 25">
                <a:extLst>
                  <a:ext uri="{FF2B5EF4-FFF2-40B4-BE49-F238E27FC236}">
                    <a16:creationId xmlns:a16="http://schemas.microsoft.com/office/drawing/2014/main" id="{F358ECFD-1879-4DDB-A163-10CDB8426920}"/>
                  </a:ext>
                </a:extLst>
              </p:cNvPr>
              <p:cNvSpPr/>
              <p:nvPr/>
            </p:nvSpPr>
            <p:spPr>
              <a:xfrm>
                <a:off x="1766569" y="6073775"/>
                <a:ext cx="83819" cy="83819"/>
              </a:xfrm>
              <a:custGeom>
                <a:avLst/>
                <a:gdLst>
                  <a:gd name="connsiteX0" fmla="*/ 83820 w 83819"/>
                  <a:gd name="connsiteY0" fmla="*/ 41910 h 83819"/>
                  <a:gd name="connsiteX1" fmla="*/ 41910 w 83819"/>
                  <a:gd name="connsiteY1" fmla="*/ 83820 h 83819"/>
                  <a:gd name="connsiteX2" fmla="*/ 0 w 83819"/>
                  <a:gd name="connsiteY2" fmla="*/ 41910 h 83819"/>
                  <a:gd name="connsiteX3" fmla="*/ 41910 w 83819"/>
                  <a:gd name="connsiteY3" fmla="*/ 0 h 83819"/>
                  <a:gd name="connsiteX4" fmla="*/ 83820 w 83819"/>
                  <a:gd name="connsiteY4" fmla="*/ 41910 h 83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19" h="83819">
                    <a:moveTo>
                      <a:pt x="83820" y="41910"/>
                    </a:moveTo>
                    <a:cubicBezTo>
                      <a:pt x="83820" y="65056"/>
                      <a:pt x="65056" y="83820"/>
                      <a:pt x="41910" y="83820"/>
                    </a:cubicBezTo>
                    <a:cubicBezTo>
                      <a:pt x="18764" y="83820"/>
                      <a:pt x="0" y="65056"/>
                      <a:pt x="0" y="41910"/>
                    </a:cubicBezTo>
                    <a:cubicBezTo>
                      <a:pt x="0" y="18764"/>
                      <a:pt x="18764" y="0"/>
                      <a:pt x="41910" y="0"/>
                    </a:cubicBezTo>
                    <a:cubicBezTo>
                      <a:pt x="65056" y="0"/>
                      <a:pt x="83820" y="18764"/>
                      <a:pt x="83820" y="41910"/>
                    </a:cubicBezTo>
                    <a:close/>
                  </a:path>
                </a:pathLst>
              </a:custGeom>
              <a:grpFill/>
              <a:ln w="9525" cap="flat">
                <a:noFill/>
                <a:prstDash val="solid"/>
                <a:miter/>
              </a:ln>
            </p:spPr>
            <p:txBody>
              <a:bodyPr rtlCol="0" anchor="ctr"/>
              <a:lstStyle/>
              <a:p>
                <a:endParaRPr lang="sv-SE" dirty="0"/>
              </a:p>
            </p:txBody>
          </p:sp>
          <p:sp>
            <p:nvSpPr>
              <p:cNvPr id="27" name="Frihandsfigur: Form 26">
                <a:extLst>
                  <a:ext uri="{FF2B5EF4-FFF2-40B4-BE49-F238E27FC236}">
                    <a16:creationId xmlns:a16="http://schemas.microsoft.com/office/drawing/2014/main" id="{FC275B23-DB37-439C-9928-C75186F2A807}"/>
                  </a:ext>
                </a:extLst>
              </p:cNvPr>
              <p:cNvSpPr/>
              <p:nvPr/>
            </p:nvSpPr>
            <p:spPr>
              <a:xfrm>
                <a:off x="1705609" y="6012815"/>
                <a:ext cx="206692" cy="206692"/>
              </a:xfrm>
              <a:custGeom>
                <a:avLst/>
                <a:gdLst>
                  <a:gd name="connsiteX0" fmla="*/ 155258 w 206692"/>
                  <a:gd name="connsiteY0" fmla="*/ 0 h 206692"/>
                  <a:gd name="connsiteX1" fmla="*/ 50483 w 206692"/>
                  <a:gd name="connsiteY1" fmla="*/ 0 h 206692"/>
                  <a:gd name="connsiteX2" fmla="*/ 13335 w 206692"/>
                  <a:gd name="connsiteY2" fmla="*/ 13335 h 206692"/>
                  <a:gd name="connsiteX3" fmla="*/ 0 w 206692"/>
                  <a:gd name="connsiteY3" fmla="*/ 50482 h 206692"/>
                  <a:gd name="connsiteX4" fmla="*/ 0 w 206692"/>
                  <a:gd name="connsiteY4" fmla="*/ 155258 h 206692"/>
                  <a:gd name="connsiteX5" fmla="*/ 14288 w 206692"/>
                  <a:gd name="connsiteY5" fmla="*/ 193358 h 206692"/>
                  <a:gd name="connsiteX6" fmla="*/ 51435 w 206692"/>
                  <a:gd name="connsiteY6" fmla="*/ 206693 h 206692"/>
                  <a:gd name="connsiteX7" fmla="*/ 155258 w 206692"/>
                  <a:gd name="connsiteY7" fmla="*/ 206693 h 206692"/>
                  <a:gd name="connsiteX8" fmla="*/ 192405 w 206692"/>
                  <a:gd name="connsiteY8" fmla="*/ 193358 h 206692"/>
                  <a:gd name="connsiteX9" fmla="*/ 206693 w 206692"/>
                  <a:gd name="connsiteY9" fmla="*/ 156210 h 206692"/>
                  <a:gd name="connsiteX10" fmla="*/ 206693 w 206692"/>
                  <a:gd name="connsiteY10" fmla="*/ 51435 h 206692"/>
                  <a:gd name="connsiteX11" fmla="*/ 193358 w 206692"/>
                  <a:gd name="connsiteY11" fmla="*/ 14288 h 206692"/>
                  <a:gd name="connsiteX12" fmla="*/ 155258 w 206692"/>
                  <a:gd name="connsiteY12" fmla="*/ 0 h 206692"/>
                  <a:gd name="connsiteX13" fmla="*/ 102870 w 206692"/>
                  <a:gd name="connsiteY13" fmla="*/ 167640 h 206692"/>
                  <a:gd name="connsiteX14" fmla="*/ 38100 w 206692"/>
                  <a:gd name="connsiteY14" fmla="*/ 102870 h 206692"/>
                  <a:gd name="connsiteX15" fmla="*/ 102870 w 206692"/>
                  <a:gd name="connsiteY15" fmla="*/ 38100 h 206692"/>
                  <a:gd name="connsiteX16" fmla="*/ 168593 w 206692"/>
                  <a:gd name="connsiteY16" fmla="*/ 102870 h 206692"/>
                  <a:gd name="connsiteX17" fmla="*/ 102870 w 206692"/>
                  <a:gd name="connsiteY17" fmla="*/ 167640 h 206692"/>
                  <a:gd name="connsiteX18" fmla="*/ 170498 w 206692"/>
                  <a:gd name="connsiteY18" fmla="*/ 50482 h 206692"/>
                  <a:gd name="connsiteX19" fmla="*/ 155258 w 206692"/>
                  <a:gd name="connsiteY19" fmla="*/ 35242 h 206692"/>
                  <a:gd name="connsiteX20" fmla="*/ 170498 w 206692"/>
                  <a:gd name="connsiteY20" fmla="*/ 20002 h 206692"/>
                  <a:gd name="connsiteX21" fmla="*/ 185738 w 206692"/>
                  <a:gd name="connsiteY21" fmla="*/ 35242 h 206692"/>
                  <a:gd name="connsiteX22" fmla="*/ 170498 w 206692"/>
                  <a:gd name="connsiteY22" fmla="*/ 50482 h 20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2" h="206692">
                    <a:moveTo>
                      <a:pt x="155258" y="0"/>
                    </a:moveTo>
                    <a:lnTo>
                      <a:pt x="50483" y="0"/>
                    </a:lnTo>
                    <a:cubicBezTo>
                      <a:pt x="35243" y="0"/>
                      <a:pt x="21908" y="4763"/>
                      <a:pt x="13335" y="13335"/>
                    </a:cubicBezTo>
                    <a:cubicBezTo>
                      <a:pt x="4763" y="21907"/>
                      <a:pt x="0" y="35242"/>
                      <a:pt x="0" y="50482"/>
                    </a:cubicBezTo>
                    <a:lnTo>
                      <a:pt x="0" y="155258"/>
                    </a:lnTo>
                    <a:cubicBezTo>
                      <a:pt x="0" y="170497"/>
                      <a:pt x="4763" y="183833"/>
                      <a:pt x="14288" y="193358"/>
                    </a:cubicBezTo>
                    <a:cubicBezTo>
                      <a:pt x="23813" y="201930"/>
                      <a:pt x="36195" y="206693"/>
                      <a:pt x="51435" y="206693"/>
                    </a:cubicBezTo>
                    <a:lnTo>
                      <a:pt x="155258" y="206693"/>
                    </a:lnTo>
                    <a:cubicBezTo>
                      <a:pt x="170498" y="206693"/>
                      <a:pt x="183833" y="201930"/>
                      <a:pt x="192405" y="193358"/>
                    </a:cubicBezTo>
                    <a:cubicBezTo>
                      <a:pt x="201930" y="184785"/>
                      <a:pt x="206693" y="171450"/>
                      <a:pt x="206693" y="156210"/>
                    </a:cubicBezTo>
                    <a:lnTo>
                      <a:pt x="206693" y="51435"/>
                    </a:lnTo>
                    <a:cubicBezTo>
                      <a:pt x="206693" y="36195"/>
                      <a:pt x="201930" y="23813"/>
                      <a:pt x="193358" y="14288"/>
                    </a:cubicBezTo>
                    <a:cubicBezTo>
                      <a:pt x="183833" y="4763"/>
                      <a:pt x="171450" y="0"/>
                      <a:pt x="155258" y="0"/>
                    </a:cubicBezTo>
                    <a:close/>
                    <a:moveTo>
                      <a:pt x="102870" y="167640"/>
                    </a:moveTo>
                    <a:cubicBezTo>
                      <a:pt x="66675" y="167640"/>
                      <a:pt x="38100" y="138113"/>
                      <a:pt x="38100" y="102870"/>
                    </a:cubicBezTo>
                    <a:cubicBezTo>
                      <a:pt x="38100" y="66675"/>
                      <a:pt x="67628" y="38100"/>
                      <a:pt x="102870" y="38100"/>
                    </a:cubicBezTo>
                    <a:cubicBezTo>
                      <a:pt x="138113" y="38100"/>
                      <a:pt x="168593" y="66675"/>
                      <a:pt x="168593" y="102870"/>
                    </a:cubicBezTo>
                    <a:cubicBezTo>
                      <a:pt x="168593" y="139065"/>
                      <a:pt x="139065" y="167640"/>
                      <a:pt x="102870" y="167640"/>
                    </a:cubicBezTo>
                    <a:close/>
                    <a:moveTo>
                      <a:pt x="170498" y="50482"/>
                    </a:moveTo>
                    <a:cubicBezTo>
                      <a:pt x="161925" y="50482"/>
                      <a:pt x="155258" y="43815"/>
                      <a:pt x="155258" y="35242"/>
                    </a:cubicBezTo>
                    <a:cubicBezTo>
                      <a:pt x="155258" y="26670"/>
                      <a:pt x="161925" y="20002"/>
                      <a:pt x="170498" y="20002"/>
                    </a:cubicBezTo>
                    <a:cubicBezTo>
                      <a:pt x="179070" y="20002"/>
                      <a:pt x="185738" y="26670"/>
                      <a:pt x="185738" y="35242"/>
                    </a:cubicBezTo>
                    <a:cubicBezTo>
                      <a:pt x="185738" y="43815"/>
                      <a:pt x="179070" y="50482"/>
                      <a:pt x="170498" y="50482"/>
                    </a:cubicBezTo>
                    <a:close/>
                  </a:path>
                </a:pathLst>
              </a:custGeom>
              <a:grpFill/>
              <a:ln w="9525" cap="flat">
                <a:noFill/>
                <a:prstDash val="solid"/>
                <a:miter/>
              </a:ln>
            </p:spPr>
            <p:txBody>
              <a:bodyPr rtlCol="0" anchor="ctr"/>
              <a:lstStyle/>
              <a:p>
                <a:endParaRPr lang="sv-SE" dirty="0"/>
              </a:p>
            </p:txBody>
          </p:sp>
          <p:sp>
            <p:nvSpPr>
              <p:cNvPr id="28" name="Frihandsfigur: Form 27">
                <a:extLst>
                  <a:ext uri="{FF2B5EF4-FFF2-40B4-BE49-F238E27FC236}">
                    <a16:creationId xmlns:a16="http://schemas.microsoft.com/office/drawing/2014/main" id="{7EB511C0-14A7-4CF3-A8A3-6CCF6F501FB0}"/>
                  </a:ext>
                </a:extLst>
              </p:cNvPr>
              <p:cNvSpPr/>
              <p:nvPr/>
            </p:nvSpPr>
            <p:spPr>
              <a:xfrm>
                <a:off x="1576069" y="5879464"/>
                <a:ext cx="468636" cy="468630"/>
              </a:xfrm>
              <a:custGeom>
                <a:avLst/>
                <a:gdLst>
                  <a:gd name="connsiteX0" fmla="*/ 234315 w 468636"/>
                  <a:gd name="connsiteY0" fmla="*/ 0 h 468630"/>
                  <a:gd name="connsiteX1" fmla="*/ 0 w 468636"/>
                  <a:gd name="connsiteY1" fmla="*/ 234315 h 468630"/>
                  <a:gd name="connsiteX2" fmla="*/ 234315 w 468636"/>
                  <a:gd name="connsiteY2" fmla="*/ 468630 h 468630"/>
                  <a:gd name="connsiteX3" fmla="*/ 468630 w 468636"/>
                  <a:gd name="connsiteY3" fmla="*/ 234315 h 468630"/>
                  <a:gd name="connsiteX4" fmla="*/ 234315 w 468636"/>
                  <a:gd name="connsiteY4" fmla="*/ 0 h 468630"/>
                  <a:gd name="connsiteX5" fmla="*/ 359093 w 468636"/>
                  <a:gd name="connsiteY5" fmla="*/ 289560 h 468630"/>
                  <a:gd name="connsiteX6" fmla="*/ 338138 w 468636"/>
                  <a:gd name="connsiteY6" fmla="*/ 343853 h 468630"/>
                  <a:gd name="connsiteX7" fmla="*/ 284798 w 468636"/>
                  <a:gd name="connsiteY7" fmla="*/ 363855 h 468630"/>
                  <a:gd name="connsiteX8" fmla="*/ 180975 w 468636"/>
                  <a:gd name="connsiteY8" fmla="*/ 363855 h 468630"/>
                  <a:gd name="connsiteX9" fmla="*/ 127635 w 468636"/>
                  <a:gd name="connsiteY9" fmla="*/ 343853 h 468630"/>
                  <a:gd name="connsiteX10" fmla="*/ 106680 w 468636"/>
                  <a:gd name="connsiteY10" fmla="*/ 289560 h 468630"/>
                  <a:gd name="connsiteX11" fmla="*/ 106680 w 468636"/>
                  <a:gd name="connsiteY11" fmla="*/ 184785 h 468630"/>
                  <a:gd name="connsiteX12" fmla="*/ 180975 w 468636"/>
                  <a:gd name="connsiteY12" fmla="*/ 110490 h 468630"/>
                  <a:gd name="connsiteX13" fmla="*/ 285750 w 468636"/>
                  <a:gd name="connsiteY13" fmla="*/ 110490 h 468630"/>
                  <a:gd name="connsiteX14" fmla="*/ 339090 w 468636"/>
                  <a:gd name="connsiteY14" fmla="*/ 131445 h 468630"/>
                  <a:gd name="connsiteX15" fmla="*/ 359093 w 468636"/>
                  <a:gd name="connsiteY15" fmla="*/ 184785 h 468630"/>
                  <a:gd name="connsiteX16" fmla="*/ 359093 w 468636"/>
                  <a:gd name="connsiteY16" fmla="*/ 289560 h 46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636" h="468630">
                    <a:moveTo>
                      <a:pt x="234315" y="0"/>
                    </a:moveTo>
                    <a:cubicBezTo>
                      <a:pt x="104775" y="0"/>
                      <a:pt x="0" y="104775"/>
                      <a:pt x="0" y="234315"/>
                    </a:cubicBezTo>
                    <a:cubicBezTo>
                      <a:pt x="0" y="363855"/>
                      <a:pt x="104775" y="468630"/>
                      <a:pt x="234315" y="468630"/>
                    </a:cubicBezTo>
                    <a:cubicBezTo>
                      <a:pt x="363855" y="468630"/>
                      <a:pt x="468630" y="363855"/>
                      <a:pt x="468630" y="234315"/>
                    </a:cubicBezTo>
                    <a:cubicBezTo>
                      <a:pt x="469583" y="104775"/>
                      <a:pt x="363855" y="0"/>
                      <a:pt x="234315" y="0"/>
                    </a:cubicBezTo>
                    <a:close/>
                    <a:moveTo>
                      <a:pt x="359093" y="289560"/>
                    </a:moveTo>
                    <a:cubicBezTo>
                      <a:pt x="359093" y="311468"/>
                      <a:pt x="351473" y="330518"/>
                      <a:pt x="338138" y="343853"/>
                    </a:cubicBezTo>
                    <a:cubicBezTo>
                      <a:pt x="324803" y="357188"/>
                      <a:pt x="305753" y="363855"/>
                      <a:pt x="284798" y="363855"/>
                    </a:cubicBezTo>
                    <a:lnTo>
                      <a:pt x="180975" y="363855"/>
                    </a:lnTo>
                    <a:cubicBezTo>
                      <a:pt x="160020" y="363855"/>
                      <a:pt x="140970" y="357188"/>
                      <a:pt x="127635" y="343853"/>
                    </a:cubicBezTo>
                    <a:cubicBezTo>
                      <a:pt x="113348" y="330518"/>
                      <a:pt x="106680" y="311468"/>
                      <a:pt x="106680" y="289560"/>
                    </a:cubicBezTo>
                    <a:lnTo>
                      <a:pt x="106680" y="184785"/>
                    </a:lnTo>
                    <a:cubicBezTo>
                      <a:pt x="106680" y="140970"/>
                      <a:pt x="136208" y="110490"/>
                      <a:pt x="180975" y="110490"/>
                    </a:cubicBezTo>
                    <a:lnTo>
                      <a:pt x="285750" y="110490"/>
                    </a:lnTo>
                    <a:cubicBezTo>
                      <a:pt x="307658" y="110490"/>
                      <a:pt x="325755" y="118110"/>
                      <a:pt x="339090" y="131445"/>
                    </a:cubicBezTo>
                    <a:cubicBezTo>
                      <a:pt x="352425" y="144780"/>
                      <a:pt x="359093" y="162878"/>
                      <a:pt x="359093" y="184785"/>
                    </a:cubicBezTo>
                    <a:lnTo>
                      <a:pt x="359093" y="289560"/>
                    </a:lnTo>
                    <a:close/>
                  </a:path>
                </a:pathLst>
              </a:custGeom>
              <a:grpFill/>
              <a:ln w="9525" cap="flat">
                <a:noFill/>
                <a:prstDash val="solid"/>
                <a:miter/>
              </a:ln>
            </p:spPr>
            <p:txBody>
              <a:bodyPr rtlCol="0" anchor="ctr"/>
              <a:lstStyle/>
              <a:p>
                <a:endParaRPr lang="sv-SE" dirty="0"/>
              </a:p>
            </p:txBody>
          </p:sp>
        </p:grpSp>
        <p:sp>
          <p:nvSpPr>
            <p:cNvPr id="2" name="Rektangel 1">
              <a:hlinkClick r:id="rId7"/>
              <a:extLst>
                <a:ext uri="{FF2B5EF4-FFF2-40B4-BE49-F238E27FC236}">
                  <a16:creationId xmlns:a16="http://schemas.microsoft.com/office/drawing/2014/main" id="{C58816D1-30BB-48CC-A085-60F4BEE88BC9}"/>
                </a:ext>
              </a:extLst>
            </p:cNvPr>
            <p:cNvSpPr/>
            <p:nvPr userDrawn="1"/>
          </p:nvSpPr>
          <p:spPr>
            <a:xfrm>
              <a:off x="792831" y="5885410"/>
              <a:ext cx="484909" cy="484909"/>
            </a:xfrm>
            <a:prstGeom prst="rect">
              <a:avLst/>
            </a:prstGeom>
            <a:solidFill>
              <a:schemeClr val="accent4">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9" name="Rektangel 28">
              <a:hlinkClick r:id="rId8"/>
              <a:extLst>
                <a:ext uri="{FF2B5EF4-FFF2-40B4-BE49-F238E27FC236}">
                  <a16:creationId xmlns:a16="http://schemas.microsoft.com/office/drawing/2014/main" id="{DFB924F1-773D-463B-9AAA-F1C560341901}"/>
                </a:ext>
              </a:extLst>
            </p:cNvPr>
            <p:cNvSpPr/>
            <p:nvPr userDrawn="1"/>
          </p:nvSpPr>
          <p:spPr>
            <a:xfrm>
              <a:off x="1566737" y="5885410"/>
              <a:ext cx="484909" cy="484909"/>
            </a:xfrm>
            <a:prstGeom prst="rect">
              <a:avLst/>
            </a:prstGeom>
            <a:solidFill>
              <a:schemeClr val="accent4">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 name="Rektangel 29">
              <a:hlinkClick r:id="rId9"/>
              <a:extLst>
                <a:ext uri="{FF2B5EF4-FFF2-40B4-BE49-F238E27FC236}">
                  <a16:creationId xmlns:a16="http://schemas.microsoft.com/office/drawing/2014/main" id="{F49E217E-C759-474F-85A9-56FC7D8CEE46}"/>
                </a:ext>
              </a:extLst>
            </p:cNvPr>
            <p:cNvSpPr/>
            <p:nvPr userDrawn="1"/>
          </p:nvSpPr>
          <p:spPr>
            <a:xfrm>
              <a:off x="2340643" y="5885410"/>
              <a:ext cx="484909" cy="484909"/>
            </a:xfrm>
            <a:prstGeom prst="rect">
              <a:avLst/>
            </a:prstGeom>
            <a:solidFill>
              <a:schemeClr val="accent4">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grpSp>
      <p:pic>
        <p:nvPicPr>
          <p:cNvPr id="31" name="Bild 30">
            <a:extLst>
              <a:ext uri="{FF2B5EF4-FFF2-40B4-BE49-F238E27FC236}">
                <a16:creationId xmlns:a16="http://schemas.microsoft.com/office/drawing/2014/main" id="{A59B0AB6-3D57-4941-A6BC-A717307AF4E2}"/>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840957" y="3703320"/>
            <a:ext cx="1629102" cy="2671035"/>
          </a:xfrm>
          <a:prstGeom prst="rect">
            <a:avLst/>
          </a:prstGeom>
        </p:spPr>
      </p:pic>
    </p:spTree>
    <p:extLst>
      <p:ext uri="{BB962C8B-B14F-4D97-AF65-F5344CB8AC3E}">
        <p14:creationId xmlns:p14="http://schemas.microsoft.com/office/powerpoint/2010/main" val="9421024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Avsnittsrubrik Ljus orange">
    <p:bg>
      <p:bgPr>
        <a:solidFill>
          <a:srgbClr val="FFB000"/>
        </a:solidFill>
        <a:effectLst/>
      </p:bgPr>
    </p:bg>
    <p:spTree>
      <p:nvGrpSpPr>
        <p:cNvPr id="1" name=""/>
        <p:cNvGrpSpPr/>
        <p:nvPr/>
      </p:nvGrpSpPr>
      <p:grpSpPr>
        <a:xfrm>
          <a:off x="0" y="0"/>
          <a:ext cx="0" cy="0"/>
          <a:chOff x="0" y="0"/>
          <a:chExt cx="0" cy="0"/>
        </a:xfrm>
      </p:grpSpPr>
      <p:sp>
        <p:nvSpPr>
          <p:cNvPr id="2" name="Platshållare för datum 3">
            <a:extLst>
              <a:ext uri="{FF2B5EF4-FFF2-40B4-BE49-F238E27FC236}">
                <a16:creationId xmlns:a16="http://schemas.microsoft.com/office/drawing/2014/main" id="{EAC87868-8DAE-C8B8-509B-9E5867B71333}"/>
              </a:ext>
            </a:extLst>
          </p:cNvPr>
          <p:cNvSpPr txBox="1">
            <a:spLocks noGrp="1"/>
          </p:cNvSpPr>
          <p:nvPr>
            <p:ph type="dt" sz="half" idx="7"/>
          </p:nvPr>
        </p:nvSpPr>
        <p:spPr/>
        <p:txBody>
          <a:bodyPr/>
          <a:lstStyle>
            <a:lvl1pPr>
              <a:defRPr>
                <a:solidFill>
                  <a:srgbClr val="FFFFFF"/>
                </a:solidFill>
              </a:defRPr>
            </a:lvl1pPr>
          </a:lstStyle>
          <a:p>
            <a:pPr lvl="0"/>
            <a:fld id="{25DE1805-5FF5-40A8-B1D5-3F6B9E7BF7A1}" type="datetime1">
              <a:rPr lang="sv-SE"/>
              <a:pPr lvl="0"/>
              <a:t>2024-08-20</a:t>
            </a:fld>
            <a:endParaRPr lang="sv-SE"/>
          </a:p>
        </p:txBody>
      </p:sp>
      <p:sp>
        <p:nvSpPr>
          <p:cNvPr id="3" name="Platshållare för sidfot 4">
            <a:extLst>
              <a:ext uri="{FF2B5EF4-FFF2-40B4-BE49-F238E27FC236}">
                <a16:creationId xmlns:a16="http://schemas.microsoft.com/office/drawing/2014/main" id="{1E4F0A1C-2A0E-F63F-9429-B1B708B5BE7D}"/>
              </a:ext>
            </a:extLst>
          </p:cNvPr>
          <p:cNvSpPr txBox="1">
            <a:spLocks noGrp="1"/>
          </p:cNvSpPr>
          <p:nvPr>
            <p:ph type="ftr" sz="quarter" idx="9"/>
          </p:nvPr>
        </p:nvSpPr>
        <p:spPr/>
        <p:txBody>
          <a:bodyPr/>
          <a:lstStyle>
            <a:lvl1pPr>
              <a:defRPr>
                <a:solidFill>
                  <a:srgbClr val="FFFFFF"/>
                </a:solidFill>
              </a:defRPr>
            </a:lvl1pPr>
          </a:lstStyle>
          <a:p>
            <a:pPr lvl="0"/>
            <a:r>
              <a:rPr lang="sv-SE"/>
              <a:t>Namn på presentation</a:t>
            </a:r>
          </a:p>
        </p:txBody>
      </p:sp>
      <p:sp>
        <p:nvSpPr>
          <p:cNvPr id="4" name="Platshållare för bildnummer 5">
            <a:extLst>
              <a:ext uri="{FF2B5EF4-FFF2-40B4-BE49-F238E27FC236}">
                <a16:creationId xmlns:a16="http://schemas.microsoft.com/office/drawing/2014/main" id="{C9773277-150A-9AAC-EB3D-96D2AFF6A4C8}"/>
              </a:ext>
            </a:extLst>
          </p:cNvPr>
          <p:cNvSpPr txBox="1">
            <a:spLocks noGrp="1"/>
          </p:cNvSpPr>
          <p:nvPr>
            <p:ph type="sldNum" sz="quarter" idx="8"/>
          </p:nvPr>
        </p:nvSpPr>
        <p:spPr/>
        <p:txBody>
          <a:bodyPr/>
          <a:lstStyle>
            <a:lvl1pPr>
              <a:defRPr>
                <a:solidFill>
                  <a:srgbClr val="303030"/>
                </a:solidFill>
              </a:defRPr>
            </a:lvl1pPr>
          </a:lstStyle>
          <a:p>
            <a:pPr lvl="0"/>
            <a:fld id="{B24509F8-87B2-4012-A9A2-1BA2053B5AB1}" type="slidenum">
              <a:t>‹#›</a:t>
            </a:fld>
            <a:endParaRPr lang="sv-SE"/>
          </a:p>
        </p:txBody>
      </p:sp>
    </p:spTree>
    <p:extLst>
      <p:ext uri="{BB962C8B-B14F-4D97-AF65-F5344CB8AC3E}">
        <p14:creationId xmlns:p14="http://schemas.microsoft.com/office/powerpoint/2010/main" val="2380622557"/>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Rubrik och innehåll">
    <p:spTree>
      <p:nvGrpSpPr>
        <p:cNvPr id="1" name=""/>
        <p:cNvGrpSpPr/>
        <p:nvPr/>
      </p:nvGrpSpPr>
      <p:grpSpPr>
        <a:xfrm>
          <a:off x="0" y="0"/>
          <a:ext cx="0" cy="0"/>
          <a:chOff x="0" y="0"/>
          <a:chExt cx="0" cy="0"/>
        </a:xfrm>
      </p:grpSpPr>
      <p:sp>
        <p:nvSpPr>
          <p:cNvPr id="2" name="Platshållare för datum 3">
            <a:extLst>
              <a:ext uri="{FF2B5EF4-FFF2-40B4-BE49-F238E27FC236}">
                <a16:creationId xmlns:a16="http://schemas.microsoft.com/office/drawing/2014/main" id="{EDC891C4-00C6-8787-4873-CDB2F6E4B789}"/>
              </a:ext>
            </a:extLst>
          </p:cNvPr>
          <p:cNvSpPr txBox="1">
            <a:spLocks noGrp="1"/>
          </p:cNvSpPr>
          <p:nvPr>
            <p:ph type="dt" sz="half" idx="7"/>
          </p:nvPr>
        </p:nvSpPr>
        <p:spPr/>
        <p:txBody>
          <a:bodyPr/>
          <a:lstStyle>
            <a:lvl1pPr>
              <a:defRPr/>
            </a:lvl1pPr>
          </a:lstStyle>
          <a:p>
            <a:pPr lvl="0"/>
            <a:fld id="{EC80F574-3187-46E0-8853-E8DABC315AEA}" type="datetime1">
              <a:rPr lang="sv-SE"/>
              <a:pPr lvl="0"/>
              <a:t>2024-08-20</a:t>
            </a:fld>
            <a:endParaRPr lang="sv-SE"/>
          </a:p>
        </p:txBody>
      </p:sp>
      <p:sp>
        <p:nvSpPr>
          <p:cNvPr id="3" name="Platshållare för sidfot 4">
            <a:extLst>
              <a:ext uri="{FF2B5EF4-FFF2-40B4-BE49-F238E27FC236}">
                <a16:creationId xmlns:a16="http://schemas.microsoft.com/office/drawing/2014/main" id="{9AF6FD0D-0400-C60B-EBA1-543386BE8BDB}"/>
              </a:ext>
            </a:extLst>
          </p:cNvPr>
          <p:cNvSpPr txBox="1">
            <a:spLocks noGrp="1"/>
          </p:cNvSpPr>
          <p:nvPr>
            <p:ph type="ftr" sz="quarter" idx="9"/>
          </p:nvPr>
        </p:nvSpPr>
        <p:spPr/>
        <p:txBody>
          <a:bodyPr/>
          <a:lstStyle>
            <a:lvl1pPr>
              <a:defRPr/>
            </a:lvl1pPr>
          </a:lstStyle>
          <a:p>
            <a:pPr lvl="0"/>
            <a:r>
              <a:rPr lang="sv-SE"/>
              <a:t>Namn på presentation</a:t>
            </a:r>
          </a:p>
        </p:txBody>
      </p:sp>
      <p:sp>
        <p:nvSpPr>
          <p:cNvPr id="4" name="Platshållare för bildnummer 5">
            <a:extLst>
              <a:ext uri="{FF2B5EF4-FFF2-40B4-BE49-F238E27FC236}">
                <a16:creationId xmlns:a16="http://schemas.microsoft.com/office/drawing/2014/main" id="{91646557-4D72-44FB-C44F-FA3670EBE8F8}"/>
              </a:ext>
            </a:extLst>
          </p:cNvPr>
          <p:cNvSpPr txBox="1">
            <a:spLocks noGrp="1"/>
          </p:cNvSpPr>
          <p:nvPr>
            <p:ph type="sldNum" sz="quarter" idx="8"/>
          </p:nvPr>
        </p:nvSpPr>
        <p:spPr/>
        <p:txBody>
          <a:bodyPr/>
          <a:lstStyle>
            <a:lvl1pPr>
              <a:defRPr/>
            </a:lvl1pPr>
          </a:lstStyle>
          <a:p>
            <a:pPr lvl="0"/>
            <a:fld id="{016F0769-AB69-4C36-B1A5-8088416AE781}" type="slidenum">
              <a:t>‹#›</a:t>
            </a:fld>
            <a:endParaRPr lang="sv-SE"/>
          </a:p>
        </p:txBody>
      </p:sp>
    </p:spTree>
    <p:extLst>
      <p:ext uri="{BB962C8B-B14F-4D97-AF65-F5344CB8AC3E}">
        <p14:creationId xmlns:p14="http://schemas.microsoft.com/office/powerpoint/2010/main" val="710223162"/>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B7946A5F-97FC-7E75-B228-0E432BDBBD98}"/>
              </a:ext>
            </a:extLst>
          </p:cNvPr>
          <p:cNvSpPr txBox="1">
            <a:spLocks noGrp="1"/>
          </p:cNvSpPr>
          <p:nvPr>
            <p:ph type="title"/>
          </p:nvPr>
        </p:nvSpPr>
        <p:spPr>
          <a:xfrm>
            <a:off x="803272" y="1089022"/>
            <a:ext cx="10872782" cy="1547814"/>
          </a:xfrm>
        </p:spPr>
        <p:txBody>
          <a:bodyPr/>
          <a:lstStyle>
            <a:lvl1pPr>
              <a:defRPr lang="en-US" sz="4000">
                <a:solidFill>
                  <a:srgbClr val="FFFFFF"/>
                </a:solidFill>
              </a:defRPr>
            </a:lvl1pPr>
          </a:lstStyle>
          <a:p>
            <a:pPr lvl="0"/>
            <a:r>
              <a:rPr lang="en-US"/>
              <a:t>Click to edit Master title style</a:t>
            </a:r>
            <a:endParaRPr lang="sv-SE"/>
          </a:p>
        </p:txBody>
      </p:sp>
      <p:sp>
        <p:nvSpPr>
          <p:cNvPr id="3" name="Platshållare för datum 3">
            <a:extLst>
              <a:ext uri="{FF2B5EF4-FFF2-40B4-BE49-F238E27FC236}">
                <a16:creationId xmlns:a16="http://schemas.microsoft.com/office/drawing/2014/main" id="{3131F0BD-E61F-7B84-5C8A-BDB356E37B01}"/>
              </a:ext>
            </a:extLst>
          </p:cNvPr>
          <p:cNvSpPr txBox="1">
            <a:spLocks noGrp="1"/>
          </p:cNvSpPr>
          <p:nvPr>
            <p:ph type="dt" sz="half" idx="7"/>
          </p:nvPr>
        </p:nvSpPr>
        <p:spPr>
          <a:xfrm>
            <a:off x="803272" y="5782583"/>
            <a:ext cx="2743200" cy="383270"/>
          </a:xfrm>
        </p:spPr>
        <p:txBody>
          <a:bodyPr anchor="b"/>
          <a:lstStyle>
            <a:lvl1pPr>
              <a:defRPr sz="2000">
                <a:solidFill>
                  <a:srgbClr val="FFFFFF"/>
                </a:solidFill>
              </a:defRPr>
            </a:lvl1pPr>
          </a:lstStyle>
          <a:p>
            <a:pPr lvl="0"/>
            <a:fld id="{0F7406B7-6945-4885-8F56-7C082B6E8155}" type="datetime1">
              <a:rPr lang="sv-SE"/>
              <a:pPr lvl="0"/>
              <a:t>2024-08-20</a:t>
            </a:fld>
            <a:endParaRPr lang="sv-SE"/>
          </a:p>
        </p:txBody>
      </p:sp>
      <p:pic>
        <p:nvPicPr>
          <p:cNvPr id="4" name="Bild 20">
            <a:extLst>
              <a:ext uri="{FF2B5EF4-FFF2-40B4-BE49-F238E27FC236}">
                <a16:creationId xmlns:a16="http://schemas.microsoft.com/office/drawing/2014/main" id="{0CA12638-54BD-264E-DD93-FAC4BCE9D7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40955" y="3703320"/>
            <a:ext cx="1629104" cy="2671035"/>
          </a:xfrm>
          <a:prstGeom prst="rect">
            <a:avLst/>
          </a:prstGeom>
          <a:noFill/>
          <a:ln>
            <a:noFill/>
          </a:ln>
        </p:spPr>
      </p:pic>
    </p:spTree>
    <p:extLst>
      <p:ext uri="{BB962C8B-B14F-4D97-AF65-F5344CB8AC3E}">
        <p14:creationId xmlns:p14="http://schemas.microsoft.com/office/powerpoint/2010/main" val="1418292710"/>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Rubrikbild">
  <p:cSld name="2_Rubrikbild">
    <p:spTree>
      <p:nvGrpSpPr>
        <p:cNvPr id="1" name="Shape 16"/>
        <p:cNvGrpSpPr/>
        <p:nvPr/>
      </p:nvGrpSpPr>
      <p:grpSpPr>
        <a:xfrm>
          <a:off x="0" y="0"/>
          <a:ext cx="0" cy="0"/>
          <a:chOff x="0" y="0"/>
          <a:chExt cx="0" cy="0"/>
        </a:xfrm>
      </p:grpSpPr>
      <p:pic>
        <p:nvPicPr>
          <p:cNvPr id="17" name="Google Shape;17;p9" descr="Background pattern&#10;&#10;Description automatically generated"/>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 name="Google Shape;18;p9"/>
          <p:cNvSpPr txBox="1">
            <a:spLocks noGrp="1"/>
          </p:cNvSpPr>
          <p:nvPr>
            <p:ph type="subTitle" idx="1"/>
          </p:nvPr>
        </p:nvSpPr>
        <p:spPr>
          <a:xfrm>
            <a:off x="515939" y="2830147"/>
            <a:ext cx="6588125" cy="2863644"/>
          </a:xfrm>
          <a:prstGeom prst="rect">
            <a:avLst/>
          </a:prstGeom>
          <a:noFill/>
          <a:ln>
            <a:noFill/>
          </a:ln>
        </p:spPr>
        <p:txBody>
          <a:bodyPr spcFirstLastPara="1" wrap="square" lIns="0" tIns="0" rIns="0" bIns="0" anchor="b" anchorCtr="0">
            <a:noAutofit/>
          </a:bodyPr>
          <a:lstStyle>
            <a:lvl1pPr lvl="0" algn="l">
              <a:lnSpc>
                <a:spcPct val="90000"/>
              </a:lnSpc>
              <a:spcBef>
                <a:spcPts val="300"/>
              </a:spcBef>
              <a:spcAft>
                <a:spcPts val="0"/>
              </a:spcAft>
              <a:buSzPts val="2100"/>
              <a:buNone/>
              <a:defRPr sz="2000">
                <a:solidFill>
                  <a:schemeClr val="lt1"/>
                </a:solidFill>
              </a:defRPr>
            </a:lvl1pPr>
            <a:lvl2pPr lvl="1" algn="ctr">
              <a:lnSpc>
                <a:spcPct val="90000"/>
              </a:lnSpc>
              <a:spcBef>
                <a:spcPts val="300"/>
              </a:spcBef>
              <a:spcAft>
                <a:spcPts val="0"/>
              </a:spcAft>
              <a:buClr>
                <a:schemeClr val="dk1"/>
              </a:buClr>
              <a:buSzPts val="2000"/>
              <a:buNone/>
              <a:defRPr sz="2000"/>
            </a:lvl2pPr>
            <a:lvl3pPr lvl="2" algn="ctr">
              <a:lnSpc>
                <a:spcPct val="90000"/>
              </a:lnSpc>
              <a:spcBef>
                <a:spcPts val="600"/>
              </a:spcBef>
              <a:spcAft>
                <a:spcPts val="0"/>
              </a:spcAft>
              <a:buClr>
                <a:schemeClr val="dk1"/>
              </a:buClr>
              <a:buSzPts val="1800"/>
              <a:buNone/>
              <a:defRPr sz="1800"/>
            </a:lvl3pPr>
            <a:lvl4pPr lvl="3" algn="ctr">
              <a:lnSpc>
                <a:spcPct val="90000"/>
              </a:lnSpc>
              <a:spcBef>
                <a:spcPts val="600"/>
              </a:spcBef>
              <a:spcAft>
                <a:spcPts val="0"/>
              </a:spcAft>
              <a:buClr>
                <a:schemeClr val="dk1"/>
              </a:buClr>
              <a:buSzPts val="1600"/>
              <a:buNone/>
              <a:defRPr sz="1600"/>
            </a:lvl4pPr>
            <a:lvl5pPr lvl="4" algn="ctr">
              <a:lnSpc>
                <a:spcPct val="90000"/>
              </a:lnSpc>
              <a:spcBef>
                <a:spcPts val="600"/>
              </a:spcBef>
              <a:spcAft>
                <a:spcPts val="0"/>
              </a:spcAft>
              <a:buClr>
                <a:schemeClr val="dk1"/>
              </a:buClr>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600"/>
              </a:spcBef>
              <a:spcAft>
                <a:spcPts val="0"/>
              </a:spcAft>
              <a:buClr>
                <a:schemeClr val="dk1"/>
              </a:buClr>
              <a:buSzPts val="1600"/>
              <a:buNone/>
              <a:defRPr sz="1600"/>
            </a:lvl7pPr>
            <a:lvl8pPr lvl="7" algn="ctr">
              <a:lnSpc>
                <a:spcPct val="90000"/>
              </a:lnSpc>
              <a:spcBef>
                <a:spcPts val="600"/>
              </a:spcBef>
              <a:spcAft>
                <a:spcPts val="0"/>
              </a:spcAft>
              <a:buClr>
                <a:schemeClr val="dk1"/>
              </a:buClr>
              <a:buSzPts val="1600"/>
              <a:buNone/>
              <a:defRPr sz="1600"/>
            </a:lvl8pPr>
            <a:lvl9pPr lvl="8" algn="ctr">
              <a:lnSpc>
                <a:spcPct val="90000"/>
              </a:lnSpc>
              <a:spcBef>
                <a:spcPts val="600"/>
              </a:spcBef>
              <a:spcAft>
                <a:spcPts val="600"/>
              </a:spcAft>
              <a:buClr>
                <a:schemeClr val="dk1"/>
              </a:buClr>
              <a:buSzPts val="1600"/>
              <a:buNone/>
              <a:defRPr sz="1600"/>
            </a:lvl9pPr>
          </a:lstStyle>
          <a:p>
            <a:endParaRPr/>
          </a:p>
        </p:txBody>
      </p:sp>
      <p:sp>
        <p:nvSpPr>
          <p:cNvPr id="19" name="Google Shape;19;p9"/>
          <p:cNvSpPr txBox="1">
            <a:spLocks noGrp="1"/>
          </p:cNvSpPr>
          <p:nvPr>
            <p:ph type="title"/>
          </p:nvPr>
        </p:nvSpPr>
        <p:spPr>
          <a:xfrm>
            <a:off x="515937" y="472442"/>
            <a:ext cx="11160123" cy="158813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4000"/>
              <a:buFont typeface="Helvetica Neue"/>
              <a:buNone/>
              <a:defRPr sz="4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9"/>
          <p:cNvSpPr/>
          <p:nvPr/>
        </p:nvSpPr>
        <p:spPr>
          <a:xfrm>
            <a:off x="9612412" y="3703321"/>
            <a:ext cx="2086195" cy="2667000"/>
          </a:xfrm>
          <a:custGeom>
            <a:avLst/>
            <a:gdLst/>
            <a:ahLst/>
            <a:cxnLst/>
            <a:rect l="l" t="t" r="r" b="b"/>
            <a:pathLst>
              <a:path w="2699387" h="3450907" extrusionOk="0">
                <a:moveTo>
                  <a:pt x="2249805" y="1443038"/>
                </a:moveTo>
                <a:cubicBezTo>
                  <a:pt x="2221230" y="1422083"/>
                  <a:pt x="2187893" y="1397318"/>
                  <a:pt x="2173605" y="1383030"/>
                </a:cubicBezTo>
                <a:cubicBezTo>
                  <a:pt x="2181225" y="1368743"/>
                  <a:pt x="2195513" y="1347788"/>
                  <a:pt x="2208848" y="1329690"/>
                </a:cubicBezTo>
                <a:cubicBezTo>
                  <a:pt x="2283143" y="1222058"/>
                  <a:pt x="2423160" y="1017270"/>
                  <a:pt x="2423160" y="725805"/>
                </a:cubicBezTo>
                <a:cubicBezTo>
                  <a:pt x="2423160" y="558165"/>
                  <a:pt x="2362200" y="376238"/>
                  <a:pt x="2214563" y="237173"/>
                </a:cubicBezTo>
                <a:cubicBezTo>
                  <a:pt x="2066925" y="97155"/>
                  <a:pt x="1833563" y="0"/>
                  <a:pt x="1491615" y="0"/>
                </a:cubicBezTo>
                <a:cubicBezTo>
                  <a:pt x="1166813" y="0"/>
                  <a:pt x="802005" y="106680"/>
                  <a:pt x="485775" y="293370"/>
                </a:cubicBezTo>
                <a:cubicBezTo>
                  <a:pt x="343853" y="377190"/>
                  <a:pt x="227648" y="467678"/>
                  <a:pt x="145733" y="554355"/>
                </a:cubicBezTo>
                <a:cubicBezTo>
                  <a:pt x="64770" y="641033"/>
                  <a:pt x="18098" y="724853"/>
                  <a:pt x="17145" y="796290"/>
                </a:cubicBezTo>
                <a:cubicBezTo>
                  <a:pt x="17145" y="830580"/>
                  <a:pt x="30480" y="862965"/>
                  <a:pt x="55245" y="887730"/>
                </a:cubicBezTo>
                <a:cubicBezTo>
                  <a:pt x="100965" y="933450"/>
                  <a:pt x="182880" y="954405"/>
                  <a:pt x="287655" y="965835"/>
                </a:cubicBezTo>
                <a:cubicBezTo>
                  <a:pt x="392430" y="976313"/>
                  <a:pt x="519113" y="977265"/>
                  <a:pt x="656273" y="977265"/>
                </a:cubicBezTo>
                <a:lnTo>
                  <a:pt x="681038" y="977265"/>
                </a:lnTo>
                <a:cubicBezTo>
                  <a:pt x="892493" y="977265"/>
                  <a:pt x="1041083" y="982980"/>
                  <a:pt x="1137285" y="997268"/>
                </a:cubicBezTo>
                <a:cubicBezTo>
                  <a:pt x="1184910" y="1003935"/>
                  <a:pt x="1219200" y="1013460"/>
                  <a:pt x="1240155" y="1023938"/>
                </a:cubicBezTo>
                <a:cubicBezTo>
                  <a:pt x="1262063" y="1035368"/>
                  <a:pt x="1268730" y="1045845"/>
                  <a:pt x="1268730" y="1057275"/>
                </a:cubicBezTo>
                <a:cubicBezTo>
                  <a:pt x="1268730" y="1062038"/>
                  <a:pt x="1263015" y="1073468"/>
                  <a:pt x="1250633" y="1085850"/>
                </a:cubicBezTo>
                <a:cubicBezTo>
                  <a:pt x="1204913" y="1131570"/>
                  <a:pt x="1084898" y="1199198"/>
                  <a:pt x="977265" y="1273493"/>
                </a:cubicBezTo>
                <a:cubicBezTo>
                  <a:pt x="922973" y="1310640"/>
                  <a:pt x="872490" y="1349693"/>
                  <a:pt x="834390" y="1389698"/>
                </a:cubicBezTo>
                <a:cubicBezTo>
                  <a:pt x="796290" y="1429703"/>
                  <a:pt x="770573" y="1470660"/>
                  <a:pt x="770573" y="1512570"/>
                </a:cubicBezTo>
                <a:lnTo>
                  <a:pt x="770573" y="1512570"/>
                </a:lnTo>
                <a:lnTo>
                  <a:pt x="770573" y="1514475"/>
                </a:lnTo>
                <a:lnTo>
                  <a:pt x="770573" y="1514475"/>
                </a:lnTo>
                <a:cubicBezTo>
                  <a:pt x="771525" y="1567815"/>
                  <a:pt x="799148" y="1611630"/>
                  <a:pt x="842963" y="1644968"/>
                </a:cubicBezTo>
                <a:cubicBezTo>
                  <a:pt x="973455" y="1744980"/>
                  <a:pt x="1244918" y="1771650"/>
                  <a:pt x="1386840" y="1797368"/>
                </a:cubicBezTo>
                <a:cubicBezTo>
                  <a:pt x="1474470" y="1813560"/>
                  <a:pt x="1521143" y="1844040"/>
                  <a:pt x="1545908" y="1878330"/>
                </a:cubicBezTo>
                <a:cubicBezTo>
                  <a:pt x="1570673" y="1912620"/>
                  <a:pt x="1575435" y="1950720"/>
                  <a:pt x="1575435" y="1983105"/>
                </a:cubicBezTo>
                <a:cubicBezTo>
                  <a:pt x="1575435" y="2105025"/>
                  <a:pt x="1530668" y="2211705"/>
                  <a:pt x="1449705" y="2285048"/>
                </a:cubicBezTo>
                <a:cubicBezTo>
                  <a:pt x="1377315" y="2350770"/>
                  <a:pt x="1290638" y="2393633"/>
                  <a:pt x="1164908" y="2394585"/>
                </a:cubicBezTo>
                <a:cubicBezTo>
                  <a:pt x="1160145" y="2394585"/>
                  <a:pt x="1155383" y="2394585"/>
                  <a:pt x="1149668" y="2394585"/>
                </a:cubicBezTo>
                <a:cubicBezTo>
                  <a:pt x="1152525" y="2370773"/>
                  <a:pt x="1154430" y="2346960"/>
                  <a:pt x="1154430" y="2323148"/>
                </a:cubicBezTo>
                <a:cubicBezTo>
                  <a:pt x="1154430" y="2180273"/>
                  <a:pt x="1098233" y="2060258"/>
                  <a:pt x="1002983" y="1977390"/>
                </a:cubicBezTo>
                <a:cubicBezTo>
                  <a:pt x="907733" y="1894523"/>
                  <a:pt x="773430" y="1847850"/>
                  <a:pt x="617220" y="1847850"/>
                </a:cubicBezTo>
                <a:cubicBezTo>
                  <a:pt x="424815" y="1847850"/>
                  <a:pt x="270510" y="1927860"/>
                  <a:pt x="164783" y="2045970"/>
                </a:cubicBezTo>
                <a:cubicBezTo>
                  <a:pt x="57150" y="2165985"/>
                  <a:pt x="0" y="2322195"/>
                  <a:pt x="0" y="2476500"/>
                </a:cubicBezTo>
                <a:cubicBezTo>
                  <a:pt x="0" y="2719388"/>
                  <a:pt x="112395" y="2963228"/>
                  <a:pt x="330518" y="3146108"/>
                </a:cubicBezTo>
                <a:cubicBezTo>
                  <a:pt x="548640" y="3328988"/>
                  <a:pt x="873443" y="3450908"/>
                  <a:pt x="1298258" y="3450908"/>
                </a:cubicBezTo>
                <a:cubicBezTo>
                  <a:pt x="1635443" y="3450908"/>
                  <a:pt x="1974533" y="3339465"/>
                  <a:pt x="2231708" y="3146108"/>
                </a:cubicBezTo>
                <a:cubicBezTo>
                  <a:pt x="2445068" y="2986088"/>
                  <a:pt x="2699385" y="2692718"/>
                  <a:pt x="2699385" y="2213610"/>
                </a:cubicBezTo>
                <a:cubicBezTo>
                  <a:pt x="2700338" y="1774508"/>
                  <a:pt x="2405063" y="1557338"/>
                  <a:pt x="2249805" y="1443038"/>
                </a:cubicBezTo>
                <a:lnTo>
                  <a:pt x="2249805" y="1443038"/>
                </a:lnTo>
                <a:close/>
                <a:moveTo>
                  <a:pt x="908685" y="1474470"/>
                </a:moveTo>
                <a:cubicBezTo>
                  <a:pt x="955358" y="1427798"/>
                  <a:pt x="1052513" y="1361123"/>
                  <a:pt x="1125855" y="1314450"/>
                </a:cubicBezTo>
                <a:cubicBezTo>
                  <a:pt x="1197293" y="1268730"/>
                  <a:pt x="1261110" y="1227773"/>
                  <a:pt x="1307783" y="1186815"/>
                </a:cubicBezTo>
                <a:cubicBezTo>
                  <a:pt x="1354455" y="1145858"/>
                  <a:pt x="1384935" y="1103948"/>
                  <a:pt x="1384935" y="1056323"/>
                </a:cubicBezTo>
                <a:cubicBezTo>
                  <a:pt x="1384935" y="1018223"/>
                  <a:pt x="1370648" y="983933"/>
                  <a:pt x="1343025" y="956310"/>
                </a:cubicBezTo>
                <a:cubicBezTo>
                  <a:pt x="1293495" y="907733"/>
                  <a:pt x="1205865" y="884873"/>
                  <a:pt x="1096328" y="872490"/>
                </a:cubicBezTo>
                <a:cubicBezTo>
                  <a:pt x="986790" y="860108"/>
                  <a:pt x="855345" y="860108"/>
                  <a:pt x="719138" y="860108"/>
                </a:cubicBezTo>
                <a:cubicBezTo>
                  <a:pt x="706755" y="860108"/>
                  <a:pt x="694373" y="860108"/>
                  <a:pt x="681990" y="860108"/>
                </a:cubicBezTo>
                <a:cubicBezTo>
                  <a:pt x="569595" y="860108"/>
                  <a:pt x="480060" y="858203"/>
                  <a:pt x="408623" y="855345"/>
                </a:cubicBezTo>
                <a:cubicBezTo>
                  <a:pt x="507683" y="816293"/>
                  <a:pt x="622935" y="755333"/>
                  <a:pt x="748665" y="688658"/>
                </a:cubicBezTo>
                <a:cubicBezTo>
                  <a:pt x="951548" y="580073"/>
                  <a:pt x="1177290" y="459105"/>
                  <a:pt x="1389698" y="405765"/>
                </a:cubicBezTo>
                <a:cubicBezTo>
                  <a:pt x="1341120" y="461010"/>
                  <a:pt x="1308735" y="524828"/>
                  <a:pt x="1308735" y="579120"/>
                </a:cubicBezTo>
                <a:cubicBezTo>
                  <a:pt x="1308735" y="592455"/>
                  <a:pt x="1312545" y="606743"/>
                  <a:pt x="1323023" y="618173"/>
                </a:cubicBezTo>
                <a:cubicBezTo>
                  <a:pt x="1333500" y="629603"/>
                  <a:pt x="1349693" y="636270"/>
                  <a:pt x="1371600" y="636270"/>
                </a:cubicBezTo>
                <a:cubicBezTo>
                  <a:pt x="1409700" y="636270"/>
                  <a:pt x="1451610" y="621983"/>
                  <a:pt x="1500188" y="605790"/>
                </a:cubicBezTo>
                <a:cubicBezTo>
                  <a:pt x="1566863" y="583883"/>
                  <a:pt x="1643063" y="559118"/>
                  <a:pt x="1727835" y="559118"/>
                </a:cubicBezTo>
                <a:cubicBezTo>
                  <a:pt x="1801178" y="559118"/>
                  <a:pt x="1881188" y="578168"/>
                  <a:pt x="1965960" y="634365"/>
                </a:cubicBezTo>
                <a:cubicBezTo>
                  <a:pt x="1909763" y="638175"/>
                  <a:pt x="1864043" y="654368"/>
                  <a:pt x="1834515" y="677228"/>
                </a:cubicBezTo>
                <a:cubicBezTo>
                  <a:pt x="1803083" y="701040"/>
                  <a:pt x="1795463" y="728663"/>
                  <a:pt x="1795463" y="747713"/>
                </a:cubicBezTo>
                <a:cubicBezTo>
                  <a:pt x="1795463" y="779145"/>
                  <a:pt x="1817370" y="802005"/>
                  <a:pt x="1844993" y="833438"/>
                </a:cubicBezTo>
                <a:cubicBezTo>
                  <a:pt x="1888808" y="882968"/>
                  <a:pt x="1945958" y="946785"/>
                  <a:pt x="1945958" y="1050608"/>
                </a:cubicBezTo>
                <a:cubicBezTo>
                  <a:pt x="1945958" y="1126808"/>
                  <a:pt x="1917383" y="1206818"/>
                  <a:pt x="1873568" y="1267778"/>
                </a:cubicBezTo>
                <a:cubicBezTo>
                  <a:pt x="1873568" y="1263015"/>
                  <a:pt x="1873568" y="1259205"/>
                  <a:pt x="1873568" y="1254443"/>
                </a:cubicBezTo>
                <a:cubicBezTo>
                  <a:pt x="1873568" y="1202055"/>
                  <a:pt x="1862138" y="1142048"/>
                  <a:pt x="1832610" y="1108710"/>
                </a:cubicBezTo>
                <a:cubicBezTo>
                  <a:pt x="1815465" y="1088708"/>
                  <a:pt x="1791653" y="1077278"/>
                  <a:pt x="1765935" y="1078230"/>
                </a:cubicBezTo>
                <a:cubicBezTo>
                  <a:pt x="1721168" y="1078230"/>
                  <a:pt x="1683068" y="1112520"/>
                  <a:pt x="1625918" y="1159193"/>
                </a:cubicBezTo>
                <a:cubicBezTo>
                  <a:pt x="1584960" y="1192530"/>
                  <a:pt x="1535430" y="1235393"/>
                  <a:pt x="1471613" y="1275398"/>
                </a:cubicBezTo>
                <a:cubicBezTo>
                  <a:pt x="1203960" y="1443990"/>
                  <a:pt x="1060133" y="1509713"/>
                  <a:pt x="958215" y="1517333"/>
                </a:cubicBezTo>
                <a:cubicBezTo>
                  <a:pt x="919163" y="1521143"/>
                  <a:pt x="862965" y="1520190"/>
                  <a:pt x="908685" y="1474470"/>
                </a:cubicBezTo>
                <a:close/>
                <a:moveTo>
                  <a:pt x="1154430" y="2506980"/>
                </a:moveTo>
                <a:cubicBezTo>
                  <a:pt x="1304925" y="2506980"/>
                  <a:pt x="1430655" y="2461260"/>
                  <a:pt x="1527810" y="2371725"/>
                </a:cubicBezTo>
                <a:cubicBezTo>
                  <a:pt x="1631633" y="2277428"/>
                  <a:pt x="1690688" y="2135505"/>
                  <a:pt x="1690688" y="1984058"/>
                </a:cubicBezTo>
                <a:cubicBezTo>
                  <a:pt x="1690688" y="1911668"/>
                  <a:pt x="1667828" y="1850708"/>
                  <a:pt x="1625918" y="1804035"/>
                </a:cubicBezTo>
                <a:cubicBezTo>
                  <a:pt x="1850708" y="1857375"/>
                  <a:pt x="2084070" y="1972628"/>
                  <a:pt x="2213610" y="2146935"/>
                </a:cubicBezTo>
                <a:cubicBezTo>
                  <a:pt x="2155508" y="2127885"/>
                  <a:pt x="2114550" y="2123123"/>
                  <a:pt x="2073593" y="2123123"/>
                </a:cubicBezTo>
                <a:cubicBezTo>
                  <a:pt x="2031683" y="2124075"/>
                  <a:pt x="1998345" y="2166938"/>
                  <a:pt x="1998345" y="2217420"/>
                </a:cubicBezTo>
                <a:cubicBezTo>
                  <a:pt x="1998345" y="2244090"/>
                  <a:pt x="2007870" y="2273618"/>
                  <a:pt x="2020253" y="2310765"/>
                </a:cubicBezTo>
                <a:cubicBezTo>
                  <a:pt x="2039303" y="2367915"/>
                  <a:pt x="2063115" y="2442210"/>
                  <a:pt x="2063115" y="2531745"/>
                </a:cubicBezTo>
                <a:cubicBezTo>
                  <a:pt x="2063115" y="2613660"/>
                  <a:pt x="2043113" y="2707958"/>
                  <a:pt x="1978343" y="2812733"/>
                </a:cubicBezTo>
                <a:cubicBezTo>
                  <a:pt x="1976438" y="2727960"/>
                  <a:pt x="1953578" y="2660333"/>
                  <a:pt x="1924050" y="2624138"/>
                </a:cubicBezTo>
                <a:cubicBezTo>
                  <a:pt x="1901190" y="2596515"/>
                  <a:pt x="1876425" y="2588895"/>
                  <a:pt x="1860233" y="2588895"/>
                </a:cubicBezTo>
                <a:cubicBezTo>
                  <a:pt x="1833563" y="2588895"/>
                  <a:pt x="1812608" y="2602230"/>
                  <a:pt x="1795463" y="2622233"/>
                </a:cubicBezTo>
                <a:cubicBezTo>
                  <a:pt x="1778318" y="2642235"/>
                  <a:pt x="1763078" y="2669858"/>
                  <a:pt x="1745933" y="2701290"/>
                </a:cubicBezTo>
                <a:cubicBezTo>
                  <a:pt x="1684020" y="2811780"/>
                  <a:pt x="1586865" y="2988945"/>
                  <a:pt x="1282065" y="3080385"/>
                </a:cubicBezTo>
                <a:cubicBezTo>
                  <a:pt x="1309688" y="3032760"/>
                  <a:pt x="1323975" y="2984183"/>
                  <a:pt x="1323975" y="2945130"/>
                </a:cubicBezTo>
                <a:cubicBezTo>
                  <a:pt x="1323975" y="2929890"/>
                  <a:pt x="1322070" y="2915603"/>
                  <a:pt x="1316355" y="2904173"/>
                </a:cubicBezTo>
                <a:cubicBezTo>
                  <a:pt x="1306830" y="2881313"/>
                  <a:pt x="1286828" y="2867025"/>
                  <a:pt x="1263968" y="2867025"/>
                </a:cubicBezTo>
                <a:cubicBezTo>
                  <a:pt x="1263968" y="2867025"/>
                  <a:pt x="1263015" y="2867025"/>
                  <a:pt x="1263015" y="2867025"/>
                </a:cubicBezTo>
                <a:cubicBezTo>
                  <a:pt x="1229678" y="2867978"/>
                  <a:pt x="1190625" y="2878455"/>
                  <a:pt x="1145858" y="2891790"/>
                </a:cubicBezTo>
                <a:cubicBezTo>
                  <a:pt x="1075373" y="2911793"/>
                  <a:pt x="990600" y="2935605"/>
                  <a:pt x="897255" y="2935605"/>
                </a:cubicBezTo>
                <a:cubicBezTo>
                  <a:pt x="800100" y="2935605"/>
                  <a:pt x="694373" y="2909888"/>
                  <a:pt x="585788" y="2827973"/>
                </a:cubicBezTo>
                <a:cubicBezTo>
                  <a:pt x="623888" y="2822258"/>
                  <a:pt x="657225" y="2808923"/>
                  <a:pt x="681038" y="2787968"/>
                </a:cubicBezTo>
                <a:cubicBezTo>
                  <a:pt x="701040" y="2770823"/>
                  <a:pt x="713423" y="2748915"/>
                  <a:pt x="713423" y="2725103"/>
                </a:cubicBezTo>
                <a:cubicBezTo>
                  <a:pt x="712470" y="2689860"/>
                  <a:pt x="684848" y="2665095"/>
                  <a:pt x="653415" y="2635568"/>
                </a:cubicBezTo>
                <a:cubicBezTo>
                  <a:pt x="606743" y="2591753"/>
                  <a:pt x="551498" y="2540318"/>
                  <a:pt x="551498" y="2452688"/>
                </a:cubicBezTo>
                <a:cubicBezTo>
                  <a:pt x="551498" y="2427923"/>
                  <a:pt x="556260" y="2399348"/>
                  <a:pt x="566738" y="2366963"/>
                </a:cubicBezTo>
                <a:cubicBezTo>
                  <a:pt x="576263" y="2394585"/>
                  <a:pt x="591503" y="2419350"/>
                  <a:pt x="609600" y="2440305"/>
                </a:cubicBezTo>
                <a:cubicBezTo>
                  <a:pt x="638175" y="2470785"/>
                  <a:pt x="672465" y="2489835"/>
                  <a:pt x="704850" y="2489835"/>
                </a:cubicBezTo>
                <a:cubicBezTo>
                  <a:pt x="740093" y="2490788"/>
                  <a:pt x="760095" y="2473643"/>
                  <a:pt x="769620" y="2452688"/>
                </a:cubicBezTo>
                <a:cubicBezTo>
                  <a:pt x="779145" y="2431733"/>
                  <a:pt x="778193" y="2407920"/>
                  <a:pt x="778193" y="2388870"/>
                </a:cubicBezTo>
                <a:cubicBezTo>
                  <a:pt x="778193" y="2366963"/>
                  <a:pt x="787718" y="2346960"/>
                  <a:pt x="803910" y="2331720"/>
                </a:cubicBezTo>
                <a:cubicBezTo>
                  <a:pt x="820103" y="2316480"/>
                  <a:pt x="842010" y="2306955"/>
                  <a:pt x="863918" y="2306955"/>
                </a:cubicBezTo>
                <a:cubicBezTo>
                  <a:pt x="915353" y="2306955"/>
                  <a:pt x="953453" y="2335530"/>
                  <a:pt x="981075" y="2378393"/>
                </a:cubicBezTo>
                <a:cubicBezTo>
                  <a:pt x="1007745" y="2421255"/>
                  <a:pt x="1022033" y="2477453"/>
                  <a:pt x="1022033" y="2530793"/>
                </a:cubicBezTo>
                <a:cubicBezTo>
                  <a:pt x="1022033" y="2564130"/>
                  <a:pt x="1016318" y="2595563"/>
                  <a:pt x="1005840" y="2621280"/>
                </a:cubicBezTo>
                <a:lnTo>
                  <a:pt x="994410" y="2649855"/>
                </a:lnTo>
                <a:lnTo>
                  <a:pt x="1018223" y="2630805"/>
                </a:lnTo>
                <a:cubicBezTo>
                  <a:pt x="1063943" y="2595563"/>
                  <a:pt x="1100138" y="2545080"/>
                  <a:pt x="1116330" y="2507933"/>
                </a:cubicBezTo>
                <a:cubicBezTo>
                  <a:pt x="1129665" y="2506028"/>
                  <a:pt x="1142048" y="2506980"/>
                  <a:pt x="1154430" y="2506980"/>
                </a:cubicBezTo>
                <a:close/>
                <a:moveTo>
                  <a:pt x="159068" y="830580"/>
                </a:moveTo>
                <a:cubicBezTo>
                  <a:pt x="142875" y="821055"/>
                  <a:pt x="133350" y="811530"/>
                  <a:pt x="133350" y="796290"/>
                </a:cubicBezTo>
                <a:cubicBezTo>
                  <a:pt x="133350" y="755333"/>
                  <a:pt x="172403" y="688658"/>
                  <a:pt x="245745" y="616268"/>
                </a:cubicBezTo>
                <a:cubicBezTo>
                  <a:pt x="463868" y="398145"/>
                  <a:pt x="968693" y="116205"/>
                  <a:pt x="1491615" y="116205"/>
                </a:cubicBezTo>
                <a:cubicBezTo>
                  <a:pt x="1756410" y="116205"/>
                  <a:pt x="1971675" y="181928"/>
                  <a:pt x="2114550" y="303848"/>
                </a:cubicBezTo>
                <a:cubicBezTo>
                  <a:pt x="2238375" y="409575"/>
                  <a:pt x="2306955" y="559118"/>
                  <a:pt x="2306955" y="725805"/>
                </a:cubicBezTo>
                <a:cubicBezTo>
                  <a:pt x="2306955" y="982028"/>
                  <a:pt x="2185988" y="1158240"/>
                  <a:pt x="2112645" y="1264920"/>
                </a:cubicBezTo>
                <a:cubicBezTo>
                  <a:pt x="2075498" y="1319213"/>
                  <a:pt x="2052638" y="1350645"/>
                  <a:pt x="2052638" y="1386840"/>
                </a:cubicBezTo>
                <a:cubicBezTo>
                  <a:pt x="2052638" y="1415415"/>
                  <a:pt x="2065973" y="1439228"/>
                  <a:pt x="2088833" y="1462088"/>
                </a:cubicBezTo>
                <a:cubicBezTo>
                  <a:pt x="2110740" y="1484948"/>
                  <a:pt x="2142173" y="1507808"/>
                  <a:pt x="2181225" y="1536383"/>
                </a:cubicBezTo>
                <a:cubicBezTo>
                  <a:pt x="2333625" y="1648778"/>
                  <a:pt x="2584133" y="1833563"/>
                  <a:pt x="2584133" y="2213610"/>
                </a:cubicBezTo>
                <a:cubicBezTo>
                  <a:pt x="2584133" y="2646045"/>
                  <a:pt x="2355533" y="2907983"/>
                  <a:pt x="2163128" y="3053715"/>
                </a:cubicBezTo>
                <a:cubicBezTo>
                  <a:pt x="1925955" y="3232785"/>
                  <a:pt x="1610678" y="3334703"/>
                  <a:pt x="1298258" y="3334703"/>
                </a:cubicBezTo>
                <a:cubicBezTo>
                  <a:pt x="519113" y="3334703"/>
                  <a:pt x="116205" y="2901315"/>
                  <a:pt x="116205" y="2476500"/>
                </a:cubicBezTo>
                <a:cubicBezTo>
                  <a:pt x="116205" y="2350770"/>
                  <a:pt x="162878" y="2222183"/>
                  <a:pt x="249555" y="2125028"/>
                </a:cubicBezTo>
                <a:cubicBezTo>
                  <a:pt x="335280" y="2027873"/>
                  <a:pt x="460058" y="1963103"/>
                  <a:pt x="617220" y="1963103"/>
                </a:cubicBezTo>
                <a:lnTo>
                  <a:pt x="617220" y="1963103"/>
                </a:lnTo>
                <a:cubicBezTo>
                  <a:pt x="704850" y="1963103"/>
                  <a:pt x="815340" y="1983105"/>
                  <a:pt x="902970" y="2042160"/>
                </a:cubicBezTo>
                <a:cubicBezTo>
                  <a:pt x="990600" y="2101215"/>
                  <a:pt x="1056323" y="2196465"/>
                  <a:pt x="1056323" y="2351723"/>
                </a:cubicBezTo>
                <a:cubicBezTo>
                  <a:pt x="1056323" y="2356485"/>
                  <a:pt x="1056323" y="2361248"/>
                  <a:pt x="1056323" y="2365058"/>
                </a:cubicBezTo>
                <a:cubicBezTo>
                  <a:pt x="1048703" y="2347913"/>
                  <a:pt x="1037273" y="2327910"/>
                  <a:pt x="1022033" y="2309813"/>
                </a:cubicBezTo>
                <a:cubicBezTo>
                  <a:pt x="990600" y="2270760"/>
                  <a:pt x="940118" y="2236470"/>
                  <a:pt x="865823" y="2236470"/>
                </a:cubicBezTo>
                <a:cubicBezTo>
                  <a:pt x="782003" y="2236470"/>
                  <a:pt x="710565" y="2305050"/>
                  <a:pt x="710565" y="2386965"/>
                </a:cubicBezTo>
                <a:cubicBezTo>
                  <a:pt x="710565" y="2402205"/>
                  <a:pt x="708660" y="2411730"/>
                  <a:pt x="706755" y="2416493"/>
                </a:cubicBezTo>
                <a:cubicBezTo>
                  <a:pt x="705803" y="2418398"/>
                  <a:pt x="705803" y="2419350"/>
                  <a:pt x="704850" y="2419350"/>
                </a:cubicBezTo>
                <a:cubicBezTo>
                  <a:pt x="684848" y="2419350"/>
                  <a:pt x="660083" y="2405063"/>
                  <a:pt x="641033" y="2377440"/>
                </a:cubicBezTo>
                <a:cubicBezTo>
                  <a:pt x="621030" y="2348865"/>
                  <a:pt x="606743" y="2307908"/>
                  <a:pt x="606743" y="2254568"/>
                </a:cubicBezTo>
                <a:cubicBezTo>
                  <a:pt x="606743" y="2244090"/>
                  <a:pt x="607695" y="2232660"/>
                  <a:pt x="608648" y="2221230"/>
                </a:cubicBezTo>
                <a:lnTo>
                  <a:pt x="611505" y="2196465"/>
                </a:lnTo>
                <a:lnTo>
                  <a:pt x="594360" y="2215515"/>
                </a:lnTo>
                <a:cubicBezTo>
                  <a:pt x="515303" y="2303145"/>
                  <a:pt x="486728" y="2382203"/>
                  <a:pt x="486728" y="2450783"/>
                </a:cubicBezTo>
                <a:cubicBezTo>
                  <a:pt x="486728" y="2562225"/>
                  <a:pt x="561975" y="2642235"/>
                  <a:pt x="606743" y="2684145"/>
                </a:cubicBezTo>
                <a:cubicBezTo>
                  <a:pt x="615315" y="2691765"/>
                  <a:pt x="624840" y="2701290"/>
                  <a:pt x="632460" y="2708910"/>
                </a:cubicBezTo>
                <a:cubicBezTo>
                  <a:pt x="636270" y="2712720"/>
                  <a:pt x="640080" y="2716530"/>
                  <a:pt x="641985" y="2719388"/>
                </a:cubicBezTo>
                <a:cubicBezTo>
                  <a:pt x="642938" y="2721293"/>
                  <a:pt x="643890" y="2722245"/>
                  <a:pt x="644843" y="2723198"/>
                </a:cubicBezTo>
                <a:cubicBezTo>
                  <a:pt x="644843" y="2723198"/>
                  <a:pt x="644843" y="2724150"/>
                  <a:pt x="644843" y="2724150"/>
                </a:cubicBezTo>
                <a:cubicBezTo>
                  <a:pt x="643890" y="2727960"/>
                  <a:pt x="636270" y="2739390"/>
                  <a:pt x="615315" y="2747010"/>
                </a:cubicBezTo>
                <a:cubicBezTo>
                  <a:pt x="592455" y="2756535"/>
                  <a:pt x="557213" y="2764155"/>
                  <a:pt x="505778" y="2764155"/>
                </a:cubicBezTo>
                <a:cubicBezTo>
                  <a:pt x="487680" y="2764155"/>
                  <a:pt x="468630" y="2763203"/>
                  <a:pt x="446723" y="2761298"/>
                </a:cubicBezTo>
                <a:lnTo>
                  <a:pt x="426720" y="2759393"/>
                </a:lnTo>
                <a:lnTo>
                  <a:pt x="439103" y="2774633"/>
                </a:lnTo>
                <a:cubicBezTo>
                  <a:pt x="588645" y="2952750"/>
                  <a:pt x="753428" y="3001328"/>
                  <a:pt x="896303" y="3001328"/>
                </a:cubicBezTo>
                <a:cubicBezTo>
                  <a:pt x="1002030" y="3001328"/>
                  <a:pt x="1095375" y="2974658"/>
                  <a:pt x="1163003" y="2956560"/>
                </a:cubicBezTo>
                <a:cubicBezTo>
                  <a:pt x="1191578" y="2947988"/>
                  <a:pt x="1223963" y="2936558"/>
                  <a:pt x="1241108" y="2936558"/>
                </a:cubicBezTo>
                <a:cubicBezTo>
                  <a:pt x="1248728" y="2936558"/>
                  <a:pt x="1251585" y="2938463"/>
                  <a:pt x="1252538" y="2940368"/>
                </a:cubicBezTo>
                <a:cubicBezTo>
                  <a:pt x="1254443" y="2942273"/>
                  <a:pt x="1255395" y="2947035"/>
                  <a:pt x="1255395" y="2953703"/>
                </a:cubicBezTo>
                <a:cubicBezTo>
                  <a:pt x="1255395" y="2974658"/>
                  <a:pt x="1243013" y="3011805"/>
                  <a:pt x="1223010" y="3050858"/>
                </a:cubicBezTo>
                <a:cubicBezTo>
                  <a:pt x="1203008" y="3089910"/>
                  <a:pt x="1174433" y="3129915"/>
                  <a:pt x="1143000" y="3158490"/>
                </a:cubicBezTo>
                <a:lnTo>
                  <a:pt x="1123950" y="3175635"/>
                </a:lnTo>
                <a:lnTo>
                  <a:pt x="1149668" y="3172778"/>
                </a:lnTo>
                <a:cubicBezTo>
                  <a:pt x="1585913" y="3116580"/>
                  <a:pt x="1730693" y="2864168"/>
                  <a:pt x="1803083" y="2733675"/>
                </a:cubicBezTo>
                <a:cubicBezTo>
                  <a:pt x="1814513" y="2711768"/>
                  <a:pt x="1825943" y="2691765"/>
                  <a:pt x="1836420" y="2677478"/>
                </a:cubicBezTo>
                <a:cubicBezTo>
                  <a:pt x="1845945" y="2663190"/>
                  <a:pt x="1856423" y="2655570"/>
                  <a:pt x="1858328" y="2656523"/>
                </a:cubicBezTo>
                <a:cubicBezTo>
                  <a:pt x="1862138" y="2656523"/>
                  <a:pt x="1868805" y="2660333"/>
                  <a:pt x="1876425" y="2670810"/>
                </a:cubicBezTo>
                <a:cubicBezTo>
                  <a:pt x="1898333" y="2702243"/>
                  <a:pt x="1915478" y="2782253"/>
                  <a:pt x="1915478" y="2865120"/>
                </a:cubicBezTo>
                <a:cubicBezTo>
                  <a:pt x="1915478" y="2901315"/>
                  <a:pt x="1912620" y="2937510"/>
                  <a:pt x="1905000" y="2971800"/>
                </a:cubicBezTo>
                <a:lnTo>
                  <a:pt x="1899285" y="2997518"/>
                </a:lnTo>
                <a:lnTo>
                  <a:pt x="1918335" y="2979420"/>
                </a:lnTo>
                <a:cubicBezTo>
                  <a:pt x="2083118" y="2827020"/>
                  <a:pt x="2127885" y="2667000"/>
                  <a:pt x="2127885" y="2533650"/>
                </a:cubicBezTo>
                <a:cubicBezTo>
                  <a:pt x="2127885" y="2431733"/>
                  <a:pt x="2101215" y="2345055"/>
                  <a:pt x="2083118" y="2288858"/>
                </a:cubicBezTo>
                <a:cubicBezTo>
                  <a:pt x="2072640" y="2257425"/>
                  <a:pt x="2065020" y="2229803"/>
                  <a:pt x="2065020" y="2217420"/>
                </a:cubicBezTo>
                <a:cubicBezTo>
                  <a:pt x="2065020" y="2205990"/>
                  <a:pt x="2066925" y="2200275"/>
                  <a:pt x="2068830" y="2197418"/>
                </a:cubicBezTo>
                <a:cubicBezTo>
                  <a:pt x="2070735" y="2194560"/>
                  <a:pt x="2074545" y="2192655"/>
                  <a:pt x="2081213" y="2190750"/>
                </a:cubicBezTo>
                <a:cubicBezTo>
                  <a:pt x="2150745" y="2190750"/>
                  <a:pt x="2233613" y="2215515"/>
                  <a:pt x="2332673" y="2263140"/>
                </a:cubicBezTo>
                <a:lnTo>
                  <a:pt x="2351723" y="2272665"/>
                </a:lnTo>
                <a:lnTo>
                  <a:pt x="2343150" y="2252663"/>
                </a:lnTo>
                <a:cubicBezTo>
                  <a:pt x="2208848" y="1938338"/>
                  <a:pt x="1909763" y="1803083"/>
                  <a:pt x="1618298" y="1729740"/>
                </a:cubicBezTo>
                <a:cubicBezTo>
                  <a:pt x="1472565" y="1692593"/>
                  <a:pt x="1327785" y="1671638"/>
                  <a:pt x="1206818" y="1649730"/>
                </a:cubicBezTo>
                <a:cubicBezTo>
                  <a:pt x="1118235" y="1634490"/>
                  <a:pt x="1042035" y="1619250"/>
                  <a:pt x="986790" y="1599248"/>
                </a:cubicBezTo>
                <a:cubicBezTo>
                  <a:pt x="977265" y="1595438"/>
                  <a:pt x="968693" y="1590675"/>
                  <a:pt x="959168" y="1586865"/>
                </a:cubicBezTo>
                <a:cubicBezTo>
                  <a:pt x="1125855" y="1565910"/>
                  <a:pt x="1326833" y="1448753"/>
                  <a:pt x="1504950" y="1334453"/>
                </a:cubicBezTo>
                <a:cubicBezTo>
                  <a:pt x="1571625" y="1291590"/>
                  <a:pt x="1624013" y="1247775"/>
                  <a:pt x="1665923" y="1213485"/>
                </a:cubicBezTo>
                <a:cubicBezTo>
                  <a:pt x="1687830" y="1195388"/>
                  <a:pt x="1707833" y="1179195"/>
                  <a:pt x="1724978" y="1166813"/>
                </a:cubicBezTo>
                <a:cubicBezTo>
                  <a:pt x="1742123" y="1154430"/>
                  <a:pt x="1756410" y="1147763"/>
                  <a:pt x="1763078" y="1147763"/>
                </a:cubicBezTo>
                <a:cubicBezTo>
                  <a:pt x="1768793" y="1147763"/>
                  <a:pt x="1774508" y="1150620"/>
                  <a:pt x="1779270" y="1156335"/>
                </a:cubicBezTo>
                <a:cubicBezTo>
                  <a:pt x="1795463" y="1174433"/>
                  <a:pt x="1804988" y="1223010"/>
                  <a:pt x="1804988" y="1276350"/>
                </a:cubicBezTo>
                <a:cubicBezTo>
                  <a:pt x="1804988" y="1319213"/>
                  <a:pt x="1799273" y="1364933"/>
                  <a:pt x="1788795" y="1402080"/>
                </a:cubicBezTo>
                <a:lnTo>
                  <a:pt x="1783080" y="1423035"/>
                </a:lnTo>
                <a:lnTo>
                  <a:pt x="1801178" y="1411605"/>
                </a:lnTo>
                <a:cubicBezTo>
                  <a:pt x="1943100" y="1320165"/>
                  <a:pt x="2010728" y="1182053"/>
                  <a:pt x="2010728" y="1053465"/>
                </a:cubicBezTo>
                <a:cubicBezTo>
                  <a:pt x="2010728" y="923925"/>
                  <a:pt x="1938338" y="842963"/>
                  <a:pt x="1892618" y="790575"/>
                </a:cubicBezTo>
                <a:cubicBezTo>
                  <a:pt x="1885950" y="782955"/>
                  <a:pt x="1877378" y="773430"/>
                  <a:pt x="1870710" y="764858"/>
                </a:cubicBezTo>
                <a:cubicBezTo>
                  <a:pt x="1864995" y="758190"/>
                  <a:pt x="1861185" y="751523"/>
                  <a:pt x="1860233" y="749618"/>
                </a:cubicBezTo>
                <a:cubicBezTo>
                  <a:pt x="1861185" y="746760"/>
                  <a:pt x="1864995" y="739140"/>
                  <a:pt x="1872615" y="734378"/>
                </a:cubicBezTo>
                <a:cubicBezTo>
                  <a:pt x="1902143" y="712470"/>
                  <a:pt x="1952625" y="698183"/>
                  <a:pt x="2011680" y="698183"/>
                </a:cubicBezTo>
                <a:cubicBezTo>
                  <a:pt x="2041208" y="698183"/>
                  <a:pt x="2073593" y="701993"/>
                  <a:pt x="2105978" y="709613"/>
                </a:cubicBezTo>
                <a:lnTo>
                  <a:pt x="2127885" y="714375"/>
                </a:lnTo>
                <a:lnTo>
                  <a:pt x="2113598" y="696278"/>
                </a:lnTo>
                <a:cubicBezTo>
                  <a:pt x="1991678" y="540068"/>
                  <a:pt x="1851660" y="494348"/>
                  <a:pt x="1726883" y="494348"/>
                </a:cubicBezTo>
                <a:cubicBezTo>
                  <a:pt x="1628775" y="494348"/>
                  <a:pt x="1539240" y="521970"/>
                  <a:pt x="1474470" y="542925"/>
                </a:cubicBezTo>
                <a:cubicBezTo>
                  <a:pt x="1443038" y="553403"/>
                  <a:pt x="1399223" y="566738"/>
                  <a:pt x="1380173" y="566738"/>
                </a:cubicBezTo>
                <a:cubicBezTo>
                  <a:pt x="1378268" y="566738"/>
                  <a:pt x="1376363" y="566738"/>
                  <a:pt x="1375410" y="566738"/>
                </a:cubicBezTo>
                <a:cubicBezTo>
                  <a:pt x="1375410" y="543878"/>
                  <a:pt x="1392555" y="505778"/>
                  <a:pt x="1423988" y="464820"/>
                </a:cubicBezTo>
                <a:cubicBezTo>
                  <a:pt x="1456373" y="422910"/>
                  <a:pt x="1503045" y="378143"/>
                  <a:pt x="1564005" y="341948"/>
                </a:cubicBezTo>
                <a:lnTo>
                  <a:pt x="1585913" y="328613"/>
                </a:lnTo>
                <a:lnTo>
                  <a:pt x="1562100" y="323850"/>
                </a:lnTo>
                <a:cubicBezTo>
                  <a:pt x="1550670" y="322898"/>
                  <a:pt x="1539240" y="322898"/>
                  <a:pt x="1527810" y="322898"/>
                </a:cubicBezTo>
                <a:cubicBezTo>
                  <a:pt x="1276350" y="322898"/>
                  <a:pt x="953453" y="504825"/>
                  <a:pt x="714375" y="628650"/>
                </a:cubicBezTo>
                <a:cubicBezTo>
                  <a:pt x="565785" y="704850"/>
                  <a:pt x="252413" y="886778"/>
                  <a:pt x="159068" y="83058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Helvetica Neue"/>
              <a:ea typeface="Helvetica Neue"/>
              <a:cs typeface="Helvetica Neue"/>
              <a:sym typeface="Helvetica Neue"/>
            </a:endParaRPr>
          </a:p>
        </p:txBody>
      </p:sp>
      <p:sp>
        <p:nvSpPr>
          <p:cNvPr id="21" name="Google Shape;21;p9"/>
          <p:cNvSpPr txBox="1">
            <a:spLocks noGrp="1"/>
          </p:cNvSpPr>
          <p:nvPr>
            <p:ph type="dt" idx="10"/>
          </p:nvPr>
        </p:nvSpPr>
        <p:spPr>
          <a:xfrm>
            <a:off x="515939" y="5693792"/>
            <a:ext cx="2743200" cy="472059"/>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sz="2000">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9127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6B25631-0701-40C3-A2E5-991715C6245C}"/>
              </a:ext>
            </a:extLst>
          </p:cNvPr>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4DD60AF-FC73-41DA-8ECD-F5290F6D92CF}"/>
              </a:ext>
            </a:extLst>
          </p:cNvPr>
          <p:cNvSpPr>
            <a:spLocks noGrp="1"/>
          </p:cNvSpPr>
          <p:nvPr>
            <p:ph idx="1"/>
          </p:nvPr>
        </p:nvSpPr>
        <p:spPr>
          <a:xfrm>
            <a:off x="803276" y="2205038"/>
            <a:ext cx="10333037" cy="397192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p>
            <a:fld id="{06C8F613-49F5-43BD-961F-F65849D5DA32}"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2054511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d bild vänster">
    <p:spTree>
      <p:nvGrpSpPr>
        <p:cNvPr id="1" name=""/>
        <p:cNvGrpSpPr/>
        <p:nvPr/>
      </p:nvGrpSpPr>
      <p:grpSpPr>
        <a:xfrm>
          <a:off x="0" y="0"/>
          <a:ext cx="0" cy="0"/>
          <a:chOff x="0" y="0"/>
          <a:chExt cx="0" cy="0"/>
        </a:xfrm>
      </p:grpSpPr>
      <p:sp>
        <p:nvSpPr>
          <p:cNvPr id="22" name="Platshållare för bild 21">
            <a:extLst>
              <a:ext uri="{FF2B5EF4-FFF2-40B4-BE49-F238E27FC236}">
                <a16:creationId xmlns:a16="http://schemas.microsoft.com/office/drawing/2014/main" id="{8379E749-FA1A-4D45-B327-C2403F3DEE9F}"/>
              </a:ext>
            </a:extLst>
          </p:cNvPr>
          <p:cNvSpPr>
            <a:spLocks noGrp="1"/>
          </p:cNvSpPr>
          <p:nvPr>
            <p:ph type="pic" sz="quarter" idx="16"/>
          </p:nvPr>
        </p:nvSpPr>
        <p:spPr>
          <a:xfrm>
            <a:off x="0" y="-1"/>
            <a:ext cx="7104063" cy="6858000"/>
          </a:xfrm>
          <a:custGeom>
            <a:avLst/>
            <a:gdLst>
              <a:gd name="connsiteX0" fmla="*/ 0 w 7104063"/>
              <a:gd name="connsiteY0" fmla="*/ 0 h 6858000"/>
              <a:gd name="connsiteX1" fmla="*/ 7104063 w 7104063"/>
              <a:gd name="connsiteY1" fmla="*/ 0 h 6858000"/>
              <a:gd name="connsiteX2" fmla="*/ 7104063 w 7104063"/>
              <a:gd name="connsiteY2" fmla="*/ 6858000 h 6858000"/>
              <a:gd name="connsiteX3" fmla="*/ 0 w 71040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04063" h="6858000">
                <a:moveTo>
                  <a:pt x="0" y="0"/>
                </a:moveTo>
                <a:lnTo>
                  <a:pt x="7104063" y="0"/>
                </a:lnTo>
                <a:lnTo>
                  <a:pt x="7104063" y="6858000"/>
                </a:lnTo>
                <a:lnTo>
                  <a:pt x="0" y="6858000"/>
                </a:lnTo>
                <a:close/>
              </a:path>
            </a:pathLst>
          </a:custGeom>
          <a:solidFill>
            <a:schemeClr val="bg1">
              <a:lumMod val="95000"/>
            </a:schemeClr>
          </a:solidFill>
        </p:spPr>
        <p:txBody>
          <a:bodyPr wrap="square">
            <a:noAutofit/>
          </a:bodyPr>
          <a:lstStyle/>
          <a:p>
            <a:r>
              <a:rPr lang="sv-SE"/>
              <a:t>Klicka på ikonen för att lägga till en bild</a:t>
            </a: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bg1"/>
                </a:solidFill>
              </a:defRPr>
            </a:lvl1pPr>
          </a:lstStyle>
          <a:p>
            <a:fld id="{363D604F-0608-4D66-9CC5-07B6A5DB2B3D}"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bg1"/>
                </a:solidFill>
              </a:defRPr>
            </a:lvl1p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8" name="Title 7">
            <a:extLst>
              <a:ext uri="{FF2B5EF4-FFF2-40B4-BE49-F238E27FC236}">
                <a16:creationId xmlns:a16="http://schemas.microsoft.com/office/drawing/2014/main" id="{BF07959B-E887-4498-AE71-75A8727BBD34}"/>
              </a:ext>
            </a:extLst>
          </p:cNvPr>
          <p:cNvSpPr>
            <a:spLocks noGrp="1"/>
          </p:cNvSpPr>
          <p:nvPr userDrawn="1">
            <p:ph type="title"/>
          </p:nvPr>
        </p:nvSpPr>
        <p:spPr>
          <a:xfrm>
            <a:off x="7720010" y="1088502"/>
            <a:ext cx="3955750" cy="900112"/>
          </a:xfrm>
        </p:spPr>
        <p:txBody>
          <a:bodyPr/>
          <a:lstStyle/>
          <a:p>
            <a:r>
              <a:rPr lang="sv-SE"/>
              <a:t>Klicka här för att ändra mall för rubrikformat</a:t>
            </a:r>
            <a:endParaRPr lang="sv-SE" dirty="0"/>
          </a:p>
        </p:txBody>
      </p:sp>
      <p:sp>
        <p:nvSpPr>
          <p:cNvPr id="25" name="Content Placeholder 22">
            <a:extLst>
              <a:ext uri="{FF2B5EF4-FFF2-40B4-BE49-F238E27FC236}">
                <a16:creationId xmlns:a16="http://schemas.microsoft.com/office/drawing/2014/main" id="{9D0F4F96-59FB-4463-85F4-D2254170485F}"/>
              </a:ext>
            </a:extLst>
          </p:cNvPr>
          <p:cNvSpPr>
            <a:spLocks noGrp="1"/>
          </p:cNvSpPr>
          <p:nvPr userDrawn="1">
            <p:ph sz="quarter" idx="15"/>
          </p:nvPr>
        </p:nvSpPr>
        <p:spPr>
          <a:xfrm>
            <a:off x="7719864" y="2205038"/>
            <a:ext cx="3956202" cy="33670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205717552"/>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mal bild vänster">
    <p:spTree>
      <p:nvGrpSpPr>
        <p:cNvPr id="1" name=""/>
        <p:cNvGrpSpPr/>
        <p:nvPr/>
      </p:nvGrpSpPr>
      <p:grpSpPr>
        <a:xfrm>
          <a:off x="0" y="0"/>
          <a:ext cx="0" cy="0"/>
          <a:chOff x="0" y="0"/>
          <a:chExt cx="0" cy="0"/>
        </a:xfrm>
      </p:grpSpPr>
      <p:sp>
        <p:nvSpPr>
          <p:cNvPr id="22" name="Platshållare för bild 21">
            <a:extLst>
              <a:ext uri="{FF2B5EF4-FFF2-40B4-BE49-F238E27FC236}">
                <a16:creationId xmlns:a16="http://schemas.microsoft.com/office/drawing/2014/main" id="{F0686D7F-6F6E-4851-961F-2E16B177AB37}"/>
              </a:ext>
            </a:extLst>
          </p:cNvPr>
          <p:cNvSpPr>
            <a:spLocks noGrp="1"/>
          </p:cNvSpPr>
          <p:nvPr>
            <p:ph type="pic" sz="quarter" idx="16"/>
          </p:nvPr>
        </p:nvSpPr>
        <p:spPr>
          <a:xfrm>
            <a:off x="1" y="0"/>
            <a:ext cx="5087938" cy="6858000"/>
          </a:xfrm>
          <a:custGeom>
            <a:avLst/>
            <a:gdLst>
              <a:gd name="connsiteX0" fmla="*/ 0 w 5087938"/>
              <a:gd name="connsiteY0" fmla="*/ 0 h 6858000"/>
              <a:gd name="connsiteX1" fmla="*/ 5087938 w 5087938"/>
              <a:gd name="connsiteY1" fmla="*/ 0 h 6858000"/>
              <a:gd name="connsiteX2" fmla="*/ 5087938 w 5087938"/>
              <a:gd name="connsiteY2" fmla="*/ 6858000 h 6858000"/>
              <a:gd name="connsiteX3" fmla="*/ 0 w 50879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87938" h="6858000">
                <a:moveTo>
                  <a:pt x="0" y="0"/>
                </a:moveTo>
                <a:lnTo>
                  <a:pt x="5087938" y="0"/>
                </a:lnTo>
                <a:lnTo>
                  <a:pt x="5087938" y="6858000"/>
                </a:lnTo>
                <a:lnTo>
                  <a:pt x="0" y="6858000"/>
                </a:lnTo>
                <a:close/>
              </a:path>
            </a:pathLst>
          </a:custGeom>
          <a:solidFill>
            <a:schemeClr val="bg1">
              <a:lumMod val="95000"/>
            </a:schemeClr>
          </a:solidFill>
        </p:spPr>
        <p:txBody>
          <a:bodyPr wrap="square">
            <a:noAutofit/>
          </a:bodyPr>
          <a:lstStyle/>
          <a:p>
            <a:r>
              <a:rPr lang="sv-SE"/>
              <a:t>Klicka på ikonen för att lägga till en bild</a:t>
            </a: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bg1"/>
                </a:solidFill>
              </a:defRPr>
            </a:lvl1pPr>
          </a:lstStyle>
          <a:p>
            <a:fld id="{7CD6EC54-88DF-4AB8-89B4-8E50397F5F12}"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bg1"/>
                </a:solidFill>
              </a:defRPr>
            </a:lvl1p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23" name="Content Placeholder 22">
            <a:extLst>
              <a:ext uri="{FF2B5EF4-FFF2-40B4-BE49-F238E27FC236}">
                <a16:creationId xmlns:a16="http://schemas.microsoft.com/office/drawing/2014/main" id="{539E8352-EA12-4039-8906-31D457BECBA9}"/>
              </a:ext>
            </a:extLst>
          </p:cNvPr>
          <p:cNvSpPr>
            <a:spLocks noGrp="1"/>
          </p:cNvSpPr>
          <p:nvPr>
            <p:ph sz="quarter" idx="15"/>
          </p:nvPr>
        </p:nvSpPr>
        <p:spPr>
          <a:xfrm>
            <a:off x="5703888" y="2205038"/>
            <a:ext cx="5684838" cy="33670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Title 2">
            <a:extLst>
              <a:ext uri="{FF2B5EF4-FFF2-40B4-BE49-F238E27FC236}">
                <a16:creationId xmlns:a16="http://schemas.microsoft.com/office/drawing/2014/main" id="{2D453FA3-0D20-4BC4-9122-D61996CEC182}"/>
              </a:ext>
            </a:extLst>
          </p:cNvPr>
          <p:cNvSpPr>
            <a:spLocks noGrp="1"/>
          </p:cNvSpPr>
          <p:nvPr>
            <p:ph type="title"/>
          </p:nvPr>
        </p:nvSpPr>
        <p:spPr>
          <a:xfrm>
            <a:off x="5703888" y="1088502"/>
            <a:ext cx="5684838" cy="900112"/>
          </a:xfrm>
        </p:spPr>
        <p:txBody>
          <a:bodyPr/>
          <a:lstStyle/>
          <a:p>
            <a:r>
              <a:rPr lang="sv-SE"/>
              <a:t>Klicka här för att ändra mall för rubrikformat</a:t>
            </a:r>
            <a:endParaRPr lang="sv-SE" dirty="0"/>
          </a:p>
        </p:txBody>
      </p:sp>
    </p:spTree>
    <p:extLst>
      <p:ext uri="{BB962C8B-B14F-4D97-AF65-F5344CB8AC3E}">
        <p14:creationId xmlns:p14="http://schemas.microsoft.com/office/powerpoint/2010/main" val="1168916219"/>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d bild höger">
    <p:spTree>
      <p:nvGrpSpPr>
        <p:cNvPr id="1" name=""/>
        <p:cNvGrpSpPr/>
        <p:nvPr/>
      </p:nvGrpSpPr>
      <p:grpSpPr>
        <a:xfrm>
          <a:off x="0" y="0"/>
          <a:ext cx="0" cy="0"/>
          <a:chOff x="0" y="0"/>
          <a:chExt cx="0" cy="0"/>
        </a:xfrm>
      </p:grpSpPr>
      <p:sp>
        <p:nvSpPr>
          <p:cNvPr id="35" name="Platshållare för bild 34">
            <a:extLst>
              <a:ext uri="{FF2B5EF4-FFF2-40B4-BE49-F238E27FC236}">
                <a16:creationId xmlns:a16="http://schemas.microsoft.com/office/drawing/2014/main" id="{56E0E9E4-D90F-4462-A3A3-A4E8E8E26468}"/>
              </a:ext>
            </a:extLst>
          </p:cNvPr>
          <p:cNvSpPr>
            <a:spLocks noGrp="1"/>
          </p:cNvSpPr>
          <p:nvPr>
            <p:ph type="pic" sz="quarter" idx="16"/>
          </p:nvPr>
        </p:nvSpPr>
        <p:spPr>
          <a:xfrm>
            <a:off x="5087937" y="2"/>
            <a:ext cx="7104063" cy="6857999"/>
          </a:xfrm>
          <a:custGeom>
            <a:avLst/>
            <a:gdLst>
              <a:gd name="connsiteX0" fmla="*/ 6603089 w 7104063"/>
              <a:gd name="connsiteY0" fmla="*/ 6510555 h 6857999"/>
              <a:gd name="connsiteX1" fmla="*/ 6603069 w 7104063"/>
              <a:gd name="connsiteY1" fmla="*/ 6519246 h 6857999"/>
              <a:gd name="connsiteX2" fmla="*/ 6584194 w 7104063"/>
              <a:gd name="connsiteY2" fmla="*/ 6538800 h 6857999"/>
              <a:gd name="connsiteX3" fmla="*/ 6569897 w 7104063"/>
              <a:gd name="connsiteY3" fmla="*/ 6527956 h 6857999"/>
              <a:gd name="connsiteX4" fmla="*/ 6583690 w 7104063"/>
              <a:gd name="connsiteY4" fmla="*/ 6515483 h 6857999"/>
              <a:gd name="connsiteX5" fmla="*/ 6603089 w 7104063"/>
              <a:gd name="connsiteY5" fmla="*/ 6510555 h 6857999"/>
              <a:gd name="connsiteX6" fmla="*/ 6675408 w 7104063"/>
              <a:gd name="connsiteY6" fmla="*/ 6482485 h 6857999"/>
              <a:gd name="connsiteX7" fmla="*/ 6695272 w 7104063"/>
              <a:gd name="connsiteY7" fmla="*/ 6508577 h 6857999"/>
              <a:gd name="connsiteX8" fmla="*/ 6675408 w 7104063"/>
              <a:gd name="connsiteY8" fmla="*/ 6532069 h 6857999"/>
              <a:gd name="connsiteX9" fmla="*/ 6656532 w 7104063"/>
              <a:gd name="connsiteY9" fmla="*/ 6506618 h 6857999"/>
              <a:gd name="connsiteX10" fmla="*/ 6675408 w 7104063"/>
              <a:gd name="connsiteY10" fmla="*/ 6482485 h 6857999"/>
              <a:gd name="connsiteX11" fmla="*/ 6444036 w 7104063"/>
              <a:gd name="connsiteY11" fmla="*/ 6482485 h 6857999"/>
              <a:gd name="connsiteX12" fmla="*/ 6462600 w 7104063"/>
              <a:gd name="connsiteY12" fmla="*/ 6500546 h 6857999"/>
              <a:gd name="connsiteX13" fmla="*/ 6424637 w 7104063"/>
              <a:gd name="connsiteY13" fmla="*/ 6500546 h 6857999"/>
              <a:gd name="connsiteX14" fmla="*/ 6444036 w 7104063"/>
              <a:gd name="connsiteY14" fmla="*/ 6482485 h 6857999"/>
              <a:gd name="connsiteX15" fmla="*/ 6295536 w 7104063"/>
              <a:gd name="connsiteY15" fmla="*/ 6482408 h 6857999"/>
              <a:gd name="connsiteX16" fmla="*/ 6316216 w 7104063"/>
              <a:gd name="connsiteY16" fmla="*/ 6509663 h 6857999"/>
              <a:gd name="connsiteX17" fmla="*/ 6295536 w 7104063"/>
              <a:gd name="connsiteY17" fmla="*/ 6536822 h 6857999"/>
              <a:gd name="connsiteX18" fmla="*/ 6275012 w 7104063"/>
              <a:gd name="connsiteY18" fmla="*/ 6509663 h 6857999"/>
              <a:gd name="connsiteX19" fmla="*/ 6295536 w 7104063"/>
              <a:gd name="connsiteY19" fmla="*/ 6482408 h 6857999"/>
              <a:gd name="connsiteX20" fmla="*/ 6669724 w 7104063"/>
              <a:gd name="connsiteY20" fmla="*/ 6464968 h 6857999"/>
              <a:gd name="connsiteX21" fmla="*/ 6633273 w 7104063"/>
              <a:gd name="connsiteY21" fmla="*/ 6507006 h 6857999"/>
              <a:gd name="connsiteX22" fmla="*/ 6669549 w 7104063"/>
              <a:gd name="connsiteY22" fmla="*/ 6549683 h 6857999"/>
              <a:gd name="connsiteX23" fmla="*/ 6695001 w 7104063"/>
              <a:gd name="connsiteY23" fmla="*/ 6536550 h 6857999"/>
              <a:gd name="connsiteX24" fmla="*/ 6695330 w 7104063"/>
              <a:gd name="connsiteY24" fmla="*/ 6536550 h 6857999"/>
              <a:gd name="connsiteX25" fmla="*/ 6695330 w 7104063"/>
              <a:gd name="connsiteY25" fmla="*/ 6547705 h 6857999"/>
              <a:gd name="connsiteX26" fmla="*/ 6676610 w 7104063"/>
              <a:gd name="connsiteY26" fmla="*/ 6568714 h 6857999"/>
              <a:gd name="connsiteX27" fmla="*/ 6659151 w 7104063"/>
              <a:gd name="connsiteY27" fmla="*/ 6557074 h 6857999"/>
              <a:gd name="connsiteX28" fmla="*/ 6636008 w 7104063"/>
              <a:gd name="connsiteY28" fmla="*/ 6557074 h 6857999"/>
              <a:gd name="connsiteX29" fmla="*/ 6673429 w 7104063"/>
              <a:gd name="connsiteY29" fmla="*/ 6584330 h 6857999"/>
              <a:gd name="connsiteX30" fmla="*/ 6717426 w 7104063"/>
              <a:gd name="connsiteY30" fmla="*/ 6546735 h 6857999"/>
              <a:gd name="connsiteX31" fmla="*/ 6717426 w 7104063"/>
              <a:gd name="connsiteY31" fmla="*/ 6467276 h 6857999"/>
              <a:gd name="connsiteX32" fmla="*/ 6695272 w 7104063"/>
              <a:gd name="connsiteY32" fmla="*/ 6467276 h 6857999"/>
              <a:gd name="connsiteX33" fmla="*/ 6695272 w 7104063"/>
              <a:gd name="connsiteY33" fmla="*/ 6478547 h 6857999"/>
              <a:gd name="connsiteX34" fmla="*/ 6694942 w 7104063"/>
              <a:gd name="connsiteY34" fmla="*/ 6478547 h 6857999"/>
              <a:gd name="connsiteX35" fmla="*/ 6669724 w 7104063"/>
              <a:gd name="connsiteY35" fmla="*/ 6464968 h 6857999"/>
              <a:gd name="connsiteX36" fmla="*/ 6589083 w 7104063"/>
              <a:gd name="connsiteY36" fmla="*/ 6464929 h 6857999"/>
              <a:gd name="connsiteX37" fmla="*/ 6549179 w 7104063"/>
              <a:gd name="connsiteY37" fmla="*/ 6493329 h 6857999"/>
              <a:gd name="connsiteX38" fmla="*/ 6572458 w 7104063"/>
              <a:gd name="connsiteY38" fmla="*/ 6493329 h 6857999"/>
              <a:gd name="connsiteX39" fmla="*/ 6587977 w 7104063"/>
              <a:gd name="connsiteY39" fmla="*/ 6480526 h 6857999"/>
              <a:gd name="connsiteX40" fmla="*/ 6603089 w 7104063"/>
              <a:gd name="connsiteY40" fmla="*/ 6492010 h 6857999"/>
              <a:gd name="connsiteX41" fmla="*/ 6575503 w 7104063"/>
              <a:gd name="connsiteY41" fmla="*/ 6503164 h 6857999"/>
              <a:gd name="connsiteX42" fmla="*/ 6546657 w 7104063"/>
              <a:gd name="connsiteY42" fmla="*/ 6528946 h 6857999"/>
              <a:gd name="connsiteX43" fmla="*/ 6575542 w 7104063"/>
              <a:gd name="connsiteY43" fmla="*/ 6554397 h 6857999"/>
              <a:gd name="connsiteX44" fmla="*/ 6604117 w 7104063"/>
              <a:gd name="connsiteY44" fmla="*/ 6543883 h 6857999"/>
              <a:gd name="connsiteX45" fmla="*/ 6605746 w 7104063"/>
              <a:gd name="connsiteY45" fmla="*/ 6552089 h 6857999"/>
              <a:gd name="connsiteX46" fmla="*/ 6629297 w 7104063"/>
              <a:gd name="connsiteY46" fmla="*/ 6552089 h 6857999"/>
              <a:gd name="connsiteX47" fmla="*/ 6626348 w 7104063"/>
              <a:gd name="connsiteY47" fmla="*/ 6533213 h 6857999"/>
              <a:gd name="connsiteX48" fmla="*/ 6626348 w 7104063"/>
              <a:gd name="connsiteY48" fmla="*/ 6489061 h 6857999"/>
              <a:gd name="connsiteX49" fmla="*/ 6589083 w 7104063"/>
              <a:gd name="connsiteY49" fmla="*/ 6464929 h 6857999"/>
              <a:gd name="connsiteX50" fmla="*/ 6444656 w 7104063"/>
              <a:gd name="connsiteY50" fmla="*/ 6464910 h 6857999"/>
              <a:gd name="connsiteX51" fmla="*/ 6401319 w 7104063"/>
              <a:gd name="connsiteY51" fmla="*/ 6509722 h 6857999"/>
              <a:gd name="connsiteX52" fmla="*/ 6444656 w 7104063"/>
              <a:gd name="connsiteY52" fmla="*/ 6554339 h 6857999"/>
              <a:gd name="connsiteX53" fmla="*/ 6484385 w 7104063"/>
              <a:gd name="connsiteY53" fmla="*/ 6525784 h 6857999"/>
              <a:gd name="connsiteX54" fmla="*/ 6463861 w 7104063"/>
              <a:gd name="connsiteY54" fmla="*/ 6525784 h 6857999"/>
              <a:gd name="connsiteX55" fmla="*/ 6445490 w 7104063"/>
              <a:gd name="connsiteY55" fmla="*/ 6536783 h 6857999"/>
              <a:gd name="connsiteX56" fmla="*/ 6424637 w 7104063"/>
              <a:gd name="connsiteY56" fmla="*/ 6515270 h 6857999"/>
              <a:gd name="connsiteX57" fmla="*/ 6485860 w 7104063"/>
              <a:gd name="connsiteY57" fmla="*/ 6515270 h 6857999"/>
              <a:gd name="connsiteX58" fmla="*/ 6444656 w 7104063"/>
              <a:gd name="connsiteY58" fmla="*/ 6464910 h 6857999"/>
              <a:gd name="connsiteX59" fmla="*/ 6396353 w 7104063"/>
              <a:gd name="connsiteY59" fmla="*/ 6464910 h 6857999"/>
              <a:gd name="connsiteX60" fmla="*/ 6369195 w 7104063"/>
              <a:gd name="connsiteY60" fmla="*/ 6482970 h 6857999"/>
              <a:gd name="connsiteX61" fmla="*/ 6368865 w 7104063"/>
              <a:gd name="connsiteY61" fmla="*/ 6482970 h 6857999"/>
              <a:gd name="connsiteX62" fmla="*/ 6368865 w 7104063"/>
              <a:gd name="connsiteY62" fmla="*/ 6467277 h 6857999"/>
              <a:gd name="connsiteX63" fmla="*/ 6346847 w 7104063"/>
              <a:gd name="connsiteY63" fmla="*/ 6467277 h 6857999"/>
              <a:gd name="connsiteX64" fmla="*/ 6346847 w 7104063"/>
              <a:gd name="connsiteY64" fmla="*/ 6552147 h 6857999"/>
              <a:gd name="connsiteX65" fmla="*/ 6370126 w 7104063"/>
              <a:gd name="connsiteY65" fmla="*/ 6552147 h 6857999"/>
              <a:gd name="connsiteX66" fmla="*/ 6370126 w 7104063"/>
              <a:gd name="connsiteY66" fmla="*/ 6513834 h 6857999"/>
              <a:gd name="connsiteX67" fmla="*/ 6393114 w 7104063"/>
              <a:gd name="connsiteY67" fmla="*/ 6486676 h 6857999"/>
              <a:gd name="connsiteX68" fmla="*/ 6401494 w 7104063"/>
              <a:gd name="connsiteY68" fmla="*/ 6487490 h 6857999"/>
              <a:gd name="connsiteX69" fmla="*/ 6401455 w 7104063"/>
              <a:gd name="connsiteY69" fmla="*/ 6465744 h 6857999"/>
              <a:gd name="connsiteX70" fmla="*/ 6396353 w 7104063"/>
              <a:gd name="connsiteY70" fmla="*/ 6464910 h 6857999"/>
              <a:gd name="connsiteX71" fmla="*/ 6295536 w 7104063"/>
              <a:gd name="connsiteY71" fmla="*/ 6464910 h 6857999"/>
              <a:gd name="connsiteX72" fmla="*/ 6251714 w 7104063"/>
              <a:gd name="connsiteY72" fmla="*/ 6509722 h 6857999"/>
              <a:gd name="connsiteX73" fmla="*/ 6295536 w 7104063"/>
              <a:gd name="connsiteY73" fmla="*/ 6554339 h 6857999"/>
              <a:gd name="connsiteX74" fmla="*/ 6339533 w 7104063"/>
              <a:gd name="connsiteY74" fmla="*/ 6509722 h 6857999"/>
              <a:gd name="connsiteX75" fmla="*/ 6295536 w 7104063"/>
              <a:gd name="connsiteY75" fmla="*/ 6464910 h 6857999"/>
              <a:gd name="connsiteX76" fmla="*/ 6501107 w 7104063"/>
              <a:gd name="connsiteY76" fmla="*/ 6441767 h 6857999"/>
              <a:gd name="connsiteX77" fmla="*/ 6501107 w 7104063"/>
              <a:gd name="connsiteY77" fmla="*/ 6467277 h 6857999"/>
              <a:gd name="connsiteX78" fmla="*/ 6486985 w 7104063"/>
              <a:gd name="connsiteY78" fmla="*/ 6467277 h 6857999"/>
              <a:gd name="connsiteX79" fmla="*/ 6486985 w 7104063"/>
              <a:gd name="connsiteY79" fmla="*/ 6482796 h 6857999"/>
              <a:gd name="connsiteX80" fmla="*/ 6501107 w 7104063"/>
              <a:gd name="connsiteY80" fmla="*/ 6482796 h 6857999"/>
              <a:gd name="connsiteX81" fmla="*/ 6501107 w 7104063"/>
              <a:gd name="connsiteY81" fmla="*/ 6532865 h 6857999"/>
              <a:gd name="connsiteX82" fmla="*/ 6527859 w 7104063"/>
              <a:gd name="connsiteY82" fmla="*/ 6553059 h 6857999"/>
              <a:gd name="connsiteX83" fmla="*/ 6541438 w 7104063"/>
              <a:gd name="connsiteY83" fmla="*/ 6552244 h 6857999"/>
              <a:gd name="connsiteX84" fmla="*/ 6541438 w 7104063"/>
              <a:gd name="connsiteY84" fmla="*/ 6534009 h 6857999"/>
              <a:gd name="connsiteX85" fmla="*/ 6534221 w 7104063"/>
              <a:gd name="connsiteY85" fmla="*/ 6534669 h 6857999"/>
              <a:gd name="connsiteX86" fmla="*/ 6524367 w 7104063"/>
              <a:gd name="connsiteY86" fmla="*/ 6524814 h 6857999"/>
              <a:gd name="connsiteX87" fmla="*/ 6524367 w 7104063"/>
              <a:gd name="connsiteY87" fmla="*/ 6482796 h 6857999"/>
              <a:gd name="connsiteX88" fmla="*/ 6541438 w 7104063"/>
              <a:gd name="connsiteY88" fmla="*/ 6482796 h 6857999"/>
              <a:gd name="connsiteX89" fmla="*/ 6541438 w 7104063"/>
              <a:gd name="connsiteY89" fmla="*/ 6467277 h 6857999"/>
              <a:gd name="connsiteX90" fmla="*/ 6524367 w 7104063"/>
              <a:gd name="connsiteY90" fmla="*/ 6467277 h 6857999"/>
              <a:gd name="connsiteX91" fmla="*/ 6524386 w 7104063"/>
              <a:gd name="connsiteY91" fmla="*/ 6441767 h 6857999"/>
              <a:gd name="connsiteX92" fmla="*/ 6301453 w 7104063"/>
              <a:gd name="connsiteY92" fmla="*/ 6434880 h 6857999"/>
              <a:gd name="connsiteX93" fmla="*/ 6301453 w 7104063"/>
              <a:gd name="connsiteY93" fmla="*/ 6454085 h 6857999"/>
              <a:gd name="connsiteX94" fmla="*/ 6323607 w 7104063"/>
              <a:gd name="connsiteY94" fmla="*/ 6454085 h 6857999"/>
              <a:gd name="connsiteX95" fmla="*/ 6323607 w 7104063"/>
              <a:gd name="connsiteY95" fmla="*/ 6434880 h 6857999"/>
              <a:gd name="connsiteX96" fmla="*/ 6267641 w 7104063"/>
              <a:gd name="connsiteY96" fmla="*/ 6434880 h 6857999"/>
              <a:gd name="connsiteX97" fmla="*/ 6267641 w 7104063"/>
              <a:gd name="connsiteY97" fmla="*/ 6454085 h 6857999"/>
              <a:gd name="connsiteX98" fmla="*/ 6289795 w 7104063"/>
              <a:gd name="connsiteY98" fmla="*/ 6454085 h 6857999"/>
              <a:gd name="connsiteX99" fmla="*/ 6289795 w 7104063"/>
              <a:gd name="connsiteY99" fmla="*/ 6434880 h 6857999"/>
              <a:gd name="connsiteX100" fmla="*/ 6169211 w 7104063"/>
              <a:gd name="connsiteY100" fmla="*/ 6434880 h 6857999"/>
              <a:gd name="connsiteX101" fmla="*/ 6169211 w 7104063"/>
              <a:gd name="connsiteY101" fmla="*/ 6552089 h 6857999"/>
              <a:gd name="connsiteX102" fmla="*/ 6194992 w 7104063"/>
              <a:gd name="connsiteY102" fmla="*/ 6552089 h 6857999"/>
              <a:gd name="connsiteX103" fmla="*/ 6194992 w 7104063"/>
              <a:gd name="connsiteY103" fmla="*/ 6503669 h 6857999"/>
              <a:gd name="connsiteX104" fmla="*/ 6244072 w 7104063"/>
              <a:gd name="connsiteY104" fmla="*/ 6503669 h 6857999"/>
              <a:gd name="connsiteX105" fmla="*/ 6244072 w 7104063"/>
              <a:gd name="connsiteY105" fmla="*/ 6483649 h 6857999"/>
              <a:gd name="connsiteX106" fmla="*/ 6194992 w 7104063"/>
              <a:gd name="connsiteY106" fmla="*/ 6483649 h 6857999"/>
              <a:gd name="connsiteX107" fmla="*/ 6194992 w 7104063"/>
              <a:gd name="connsiteY107" fmla="*/ 6456549 h 6857999"/>
              <a:gd name="connsiteX108" fmla="*/ 6251637 w 7104063"/>
              <a:gd name="connsiteY108" fmla="*/ 6456549 h 6857999"/>
              <a:gd name="connsiteX109" fmla="*/ 6251637 w 7104063"/>
              <a:gd name="connsiteY109" fmla="*/ 6434880 h 6857999"/>
              <a:gd name="connsiteX110" fmla="*/ 6499555 w 7104063"/>
              <a:gd name="connsiteY110" fmla="*/ 6050762 h 6857999"/>
              <a:gd name="connsiteX111" fmla="*/ 6619228 w 7104063"/>
              <a:gd name="connsiteY111" fmla="*/ 6120598 h 6857999"/>
              <a:gd name="connsiteX112" fmla="*/ 6590672 w 7104063"/>
              <a:gd name="connsiteY112" fmla="*/ 6115710 h 6857999"/>
              <a:gd name="connsiteX113" fmla="*/ 6575328 w 7104063"/>
              <a:gd name="connsiteY113" fmla="*/ 6134895 h 6857999"/>
              <a:gd name="connsiteX114" fmla="*/ 6579770 w 7104063"/>
              <a:gd name="connsiteY114" fmla="*/ 6153829 h 6857999"/>
              <a:gd name="connsiteX115" fmla="*/ 6588500 w 7104063"/>
              <a:gd name="connsiteY115" fmla="*/ 6198757 h 6857999"/>
              <a:gd name="connsiteX116" fmla="*/ 6571235 w 7104063"/>
              <a:gd name="connsiteY116" fmla="*/ 6255945 h 6857999"/>
              <a:gd name="connsiteX117" fmla="*/ 6560216 w 7104063"/>
              <a:gd name="connsiteY117" fmla="*/ 6217535 h 6857999"/>
              <a:gd name="connsiteX118" fmla="*/ 6547141 w 7104063"/>
              <a:gd name="connsiteY118" fmla="*/ 6210396 h 6857999"/>
              <a:gd name="connsiteX119" fmla="*/ 6533892 w 7104063"/>
              <a:gd name="connsiteY119" fmla="*/ 6217244 h 6857999"/>
              <a:gd name="connsiteX120" fmla="*/ 6523785 w 7104063"/>
              <a:gd name="connsiteY120" fmla="*/ 6233326 h 6857999"/>
              <a:gd name="connsiteX121" fmla="*/ 6429389 w 7104063"/>
              <a:gd name="connsiteY121" fmla="*/ 6310553 h 6857999"/>
              <a:gd name="connsiteX122" fmla="*/ 6437925 w 7104063"/>
              <a:gd name="connsiteY122" fmla="*/ 6283045 h 6857999"/>
              <a:gd name="connsiteX123" fmla="*/ 6436450 w 7104063"/>
              <a:gd name="connsiteY123" fmla="*/ 6274646 h 6857999"/>
              <a:gd name="connsiteX124" fmla="*/ 6425742 w 7104063"/>
              <a:gd name="connsiteY124" fmla="*/ 6267080 h 6857999"/>
              <a:gd name="connsiteX125" fmla="*/ 6425587 w 7104063"/>
              <a:gd name="connsiteY125" fmla="*/ 6267080 h 6857999"/>
              <a:gd name="connsiteX126" fmla="*/ 6401784 w 7104063"/>
              <a:gd name="connsiteY126" fmla="*/ 6272104 h 6857999"/>
              <a:gd name="connsiteX127" fmla="*/ 6351153 w 7104063"/>
              <a:gd name="connsiteY127" fmla="*/ 6281047 h 6857999"/>
              <a:gd name="connsiteX128" fmla="*/ 6287777 w 7104063"/>
              <a:gd name="connsiteY128" fmla="*/ 6259126 h 6857999"/>
              <a:gd name="connsiteX129" fmla="*/ 6307176 w 7104063"/>
              <a:gd name="connsiteY129" fmla="*/ 6251037 h 6857999"/>
              <a:gd name="connsiteX130" fmla="*/ 6313810 w 7104063"/>
              <a:gd name="connsiteY130" fmla="*/ 6238234 h 6857999"/>
              <a:gd name="connsiteX131" fmla="*/ 6301511 w 7104063"/>
              <a:gd name="connsiteY131" fmla="*/ 6220037 h 6857999"/>
              <a:gd name="connsiteX132" fmla="*/ 6280735 w 7104063"/>
              <a:gd name="connsiteY132" fmla="*/ 6182888 h 6857999"/>
              <a:gd name="connsiteX133" fmla="*/ 6283936 w 7104063"/>
              <a:gd name="connsiteY133" fmla="*/ 6165429 h 6857999"/>
              <a:gd name="connsiteX134" fmla="*/ 6292665 w 7104063"/>
              <a:gd name="connsiteY134" fmla="*/ 6180405 h 6857999"/>
              <a:gd name="connsiteX135" fmla="*/ 6312064 w 7104063"/>
              <a:gd name="connsiteY135" fmla="*/ 6190493 h 6857999"/>
              <a:gd name="connsiteX136" fmla="*/ 6325197 w 7104063"/>
              <a:gd name="connsiteY136" fmla="*/ 6182869 h 6857999"/>
              <a:gd name="connsiteX137" fmla="*/ 6326982 w 7104063"/>
              <a:gd name="connsiteY137" fmla="*/ 6169852 h 6857999"/>
              <a:gd name="connsiteX138" fmla="*/ 6332259 w 7104063"/>
              <a:gd name="connsiteY138" fmla="*/ 6158213 h 6857999"/>
              <a:gd name="connsiteX139" fmla="*/ 6344655 w 7104063"/>
              <a:gd name="connsiteY139" fmla="*/ 6153014 h 6857999"/>
              <a:gd name="connsiteX140" fmla="*/ 6368496 w 7104063"/>
              <a:gd name="connsiteY140" fmla="*/ 6167486 h 6857999"/>
              <a:gd name="connsiteX141" fmla="*/ 6376837 w 7104063"/>
              <a:gd name="connsiteY141" fmla="*/ 6198524 h 6857999"/>
              <a:gd name="connsiteX142" fmla="*/ 6373540 w 7104063"/>
              <a:gd name="connsiteY142" fmla="*/ 6216953 h 6857999"/>
              <a:gd name="connsiteX143" fmla="*/ 6371153 w 7104063"/>
              <a:gd name="connsiteY143" fmla="*/ 6222773 h 6857999"/>
              <a:gd name="connsiteX144" fmla="*/ 6376061 w 7104063"/>
              <a:gd name="connsiteY144" fmla="*/ 6218893 h 6857999"/>
              <a:gd name="connsiteX145" fmla="*/ 6396042 w 7104063"/>
              <a:gd name="connsiteY145" fmla="*/ 6193888 h 6857999"/>
              <a:gd name="connsiteX146" fmla="*/ 6403453 w 7104063"/>
              <a:gd name="connsiteY146" fmla="*/ 6194062 h 6857999"/>
              <a:gd name="connsiteX147" fmla="*/ 6403453 w 7104063"/>
              <a:gd name="connsiteY147" fmla="*/ 6193985 h 6857999"/>
              <a:gd name="connsiteX148" fmla="*/ 6479536 w 7104063"/>
              <a:gd name="connsiteY148" fmla="*/ 6166477 h 6857999"/>
              <a:gd name="connsiteX149" fmla="*/ 6512708 w 7104063"/>
              <a:gd name="connsiteY149" fmla="*/ 6087445 h 6857999"/>
              <a:gd name="connsiteX150" fmla="*/ 6499555 w 7104063"/>
              <a:gd name="connsiteY150" fmla="*/ 6050762 h 6857999"/>
              <a:gd name="connsiteX151" fmla="*/ 6450922 w 7104063"/>
              <a:gd name="connsiteY151" fmla="*/ 5766140 h 6857999"/>
              <a:gd name="connsiteX152" fmla="*/ 6434433 w 7104063"/>
              <a:gd name="connsiteY152" fmla="*/ 5801408 h 6857999"/>
              <a:gd name="connsiteX153" fmla="*/ 6437362 w 7104063"/>
              <a:gd name="connsiteY153" fmla="*/ 5809303 h 6857999"/>
              <a:gd name="connsiteX154" fmla="*/ 6447256 w 7104063"/>
              <a:gd name="connsiteY154" fmla="*/ 5813047 h 6857999"/>
              <a:gd name="connsiteX155" fmla="*/ 6473541 w 7104063"/>
              <a:gd name="connsiteY155" fmla="*/ 5806898 h 6857999"/>
              <a:gd name="connsiteX156" fmla="*/ 6519847 w 7104063"/>
              <a:gd name="connsiteY156" fmla="*/ 5797373 h 6857999"/>
              <a:gd name="connsiteX157" fmla="*/ 6568247 w 7104063"/>
              <a:gd name="connsiteY157" fmla="*/ 5812756 h 6857999"/>
              <a:gd name="connsiteX158" fmla="*/ 6541535 w 7104063"/>
              <a:gd name="connsiteY158" fmla="*/ 5821486 h 6857999"/>
              <a:gd name="connsiteX159" fmla="*/ 6533639 w 7104063"/>
              <a:gd name="connsiteY159" fmla="*/ 5835841 h 6857999"/>
              <a:gd name="connsiteX160" fmla="*/ 6543669 w 7104063"/>
              <a:gd name="connsiteY160" fmla="*/ 5853300 h 6857999"/>
              <a:gd name="connsiteX161" fmla="*/ 6564212 w 7104063"/>
              <a:gd name="connsiteY161" fmla="*/ 5897607 h 6857999"/>
              <a:gd name="connsiteX162" fmla="*/ 6549508 w 7104063"/>
              <a:gd name="connsiteY162" fmla="*/ 5941934 h 6857999"/>
              <a:gd name="connsiteX163" fmla="*/ 6549508 w 7104063"/>
              <a:gd name="connsiteY163" fmla="*/ 5939199 h 6857999"/>
              <a:gd name="connsiteX164" fmla="*/ 6541244 w 7104063"/>
              <a:gd name="connsiteY164" fmla="*/ 5909479 h 6857999"/>
              <a:gd name="connsiteX165" fmla="*/ 6527664 w 7104063"/>
              <a:gd name="connsiteY165" fmla="*/ 5903194 h 6857999"/>
              <a:gd name="connsiteX166" fmla="*/ 6499148 w 7104063"/>
              <a:gd name="connsiteY166" fmla="*/ 5919761 h 6857999"/>
              <a:gd name="connsiteX167" fmla="*/ 6467702 w 7104063"/>
              <a:gd name="connsiteY167" fmla="*/ 5943389 h 6857999"/>
              <a:gd name="connsiteX168" fmla="*/ 6363239 w 7104063"/>
              <a:gd name="connsiteY168" fmla="*/ 5992740 h 6857999"/>
              <a:gd name="connsiteX169" fmla="*/ 6353500 w 7104063"/>
              <a:gd name="connsiteY169" fmla="*/ 5983855 h 6857999"/>
              <a:gd name="connsiteX170" fmla="*/ 6397672 w 7104063"/>
              <a:gd name="connsiteY170" fmla="*/ 5951342 h 6857999"/>
              <a:gd name="connsiteX171" fmla="*/ 6434705 w 7104063"/>
              <a:gd name="connsiteY171" fmla="*/ 5925387 h 6857999"/>
              <a:gd name="connsiteX172" fmla="*/ 6450437 w 7104063"/>
              <a:gd name="connsiteY172" fmla="*/ 5898752 h 6857999"/>
              <a:gd name="connsiteX173" fmla="*/ 6441902 w 7104063"/>
              <a:gd name="connsiteY173" fmla="*/ 5878344 h 6857999"/>
              <a:gd name="connsiteX174" fmla="*/ 6391600 w 7104063"/>
              <a:gd name="connsiteY174" fmla="*/ 5861273 h 6857999"/>
              <a:gd name="connsiteX175" fmla="*/ 6314625 w 7104063"/>
              <a:gd name="connsiteY175" fmla="*/ 5858732 h 6857999"/>
              <a:gd name="connsiteX176" fmla="*/ 6307001 w 7104063"/>
              <a:gd name="connsiteY176" fmla="*/ 5858732 h 6857999"/>
              <a:gd name="connsiteX177" fmla="*/ 6251248 w 7104063"/>
              <a:gd name="connsiteY177" fmla="*/ 5857820 h 6857999"/>
              <a:gd name="connsiteX178" fmla="*/ 6320445 w 7104063"/>
              <a:gd name="connsiteY178" fmla="*/ 5823814 h 6857999"/>
              <a:gd name="connsiteX179" fmla="*/ 6450922 w 7104063"/>
              <a:gd name="connsiteY179" fmla="*/ 5766140 h 6857999"/>
              <a:gd name="connsiteX180" fmla="*/ 6472145 w 7104063"/>
              <a:gd name="connsiteY180" fmla="*/ 5707187 h 6857999"/>
              <a:gd name="connsiteX181" fmla="*/ 6598994 w 7104063"/>
              <a:gd name="connsiteY181" fmla="*/ 5745384 h 6857999"/>
              <a:gd name="connsiteX182" fmla="*/ 6638122 w 7104063"/>
              <a:gd name="connsiteY182" fmla="*/ 5831340 h 6857999"/>
              <a:gd name="connsiteX183" fmla="*/ 6598645 w 7104063"/>
              <a:gd name="connsiteY183" fmla="*/ 5941100 h 6857999"/>
              <a:gd name="connsiteX184" fmla="*/ 6586405 w 7104063"/>
              <a:gd name="connsiteY184" fmla="*/ 5965911 h 6857999"/>
              <a:gd name="connsiteX185" fmla="*/ 6593718 w 7104063"/>
              <a:gd name="connsiteY185" fmla="*/ 5981275 h 6857999"/>
              <a:gd name="connsiteX186" fmla="*/ 6612516 w 7104063"/>
              <a:gd name="connsiteY186" fmla="*/ 5996484 h 6857999"/>
              <a:gd name="connsiteX187" fmla="*/ 6694554 w 7104063"/>
              <a:gd name="connsiteY187" fmla="*/ 6134430 h 6857999"/>
              <a:gd name="connsiteX188" fmla="*/ 6608888 w 7104063"/>
              <a:gd name="connsiteY188" fmla="*/ 6305470 h 6857999"/>
              <a:gd name="connsiteX189" fmla="*/ 6432823 w 7104063"/>
              <a:gd name="connsiteY189" fmla="*/ 6362756 h 6857999"/>
              <a:gd name="connsiteX190" fmla="*/ 6192023 w 7104063"/>
              <a:gd name="connsiteY190" fmla="*/ 6187932 h 6857999"/>
              <a:gd name="connsiteX191" fmla="*/ 6219182 w 7104063"/>
              <a:gd name="connsiteY191" fmla="*/ 6116331 h 6857999"/>
              <a:gd name="connsiteX192" fmla="*/ 6293965 w 7104063"/>
              <a:gd name="connsiteY192" fmla="*/ 6083352 h 6857999"/>
              <a:gd name="connsiteX193" fmla="*/ 6352162 w 7104063"/>
              <a:gd name="connsiteY193" fmla="*/ 6099453 h 6857999"/>
              <a:gd name="connsiteX194" fmla="*/ 6383414 w 7104063"/>
              <a:gd name="connsiteY194" fmla="*/ 6162558 h 6857999"/>
              <a:gd name="connsiteX195" fmla="*/ 6383414 w 7104063"/>
              <a:gd name="connsiteY195" fmla="*/ 6165313 h 6857999"/>
              <a:gd name="connsiteX196" fmla="*/ 6376508 w 7104063"/>
              <a:gd name="connsiteY196" fmla="*/ 6154062 h 6857999"/>
              <a:gd name="connsiteX197" fmla="*/ 6344732 w 7104063"/>
              <a:gd name="connsiteY197" fmla="*/ 6139183 h 6857999"/>
              <a:gd name="connsiteX198" fmla="*/ 6313151 w 7104063"/>
              <a:gd name="connsiteY198" fmla="*/ 6169891 h 6857999"/>
              <a:gd name="connsiteX199" fmla="*/ 6312375 w 7104063"/>
              <a:gd name="connsiteY199" fmla="*/ 6175905 h 6857999"/>
              <a:gd name="connsiteX200" fmla="*/ 6312006 w 7104063"/>
              <a:gd name="connsiteY200" fmla="*/ 6176564 h 6857999"/>
              <a:gd name="connsiteX201" fmla="*/ 6298970 w 7104063"/>
              <a:gd name="connsiteY201" fmla="*/ 6167932 h 6857999"/>
              <a:gd name="connsiteX202" fmla="*/ 6292064 w 7104063"/>
              <a:gd name="connsiteY202" fmla="*/ 6142810 h 6857999"/>
              <a:gd name="connsiteX203" fmla="*/ 6292432 w 7104063"/>
              <a:gd name="connsiteY203" fmla="*/ 6136040 h 6857999"/>
              <a:gd name="connsiteX204" fmla="*/ 6292956 w 7104063"/>
              <a:gd name="connsiteY204" fmla="*/ 6130977 h 6857999"/>
              <a:gd name="connsiteX205" fmla="*/ 6289542 w 7104063"/>
              <a:gd name="connsiteY205" fmla="*/ 6134857 h 6857999"/>
              <a:gd name="connsiteX206" fmla="*/ 6267699 w 7104063"/>
              <a:gd name="connsiteY206" fmla="*/ 6182772 h 6857999"/>
              <a:gd name="connsiteX207" fmla="*/ 6292122 w 7104063"/>
              <a:gd name="connsiteY207" fmla="*/ 6230261 h 6857999"/>
              <a:gd name="connsiteX208" fmla="*/ 6297437 w 7104063"/>
              <a:gd name="connsiteY208" fmla="*/ 6235363 h 6857999"/>
              <a:gd name="connsiteX209" fmla="*/ 6299377 w 7104063"/>
              <a:gd name="connsiteY209" fmla="*/ 6237574 h 6857999"/>
              <a:gd name="connsiteX210" fmla="*/ 6299901 w 7104063"/>
              <a:gd name="connsiteY210" fmla="*/ 6238350 h 6857999"/>
              <a:gd name="connsiteX211" fmla="*/ 6299901 w 7104063"/>
              <a:gd name="connsiteY211" fmla="*/ 6238505 h 6857999"/>
              <a:gd name="connsiteX212" fmla="*/ 6293849 w 7104063"/>
              <a:gd name="connsiteY212" fmla="*/ 6243200 h 6857999"/>
              <a:gd name="connsiteX213" fmla="*/ 6271579 w 7104063"/>
              <a:gd name="connsiteY213" fmla="*/ 6246614 h 6857999"/>
              <a:gd name="connsiteX214" fmla="*/ 6259551 w 7104063"/>
              <a:gd name="connsiteY214" fmla="*/ 6246032 h 6857999"/>
              <a:gd name="connsiteX215" fmla="*/ 6255671 w 7104063"/>
              <a:gd name="connsiteY215" fmla="*/ 6245663 h 6857999"/>
              <a:gd name="connsiteX216" fmla="*/ 6258232 w 7104063"/>
              <a:gd name="connsiteY216" fmla="*/ 6248748 h 6857999"/>
              <a:gd name="connsiteX217" fmla="*/ 6351347 w 7104063"/>
              <a:gd name="connsiteY217" fmla="*/ 6294879 h 6857999"/>
              <a:gd name="connsiteX218" fmla="*/ 6405664 w 7104063"/>
              <a:gd name="connsiteY218" fmla="*/ 6285684 h 6857999"/>
              <a:gd name="connsiteX219" fmla="*/ 6421630 w 7104063"/>
              <a:gd name="connsiteY219" fmla="*/ 6281629 h 6857999"/>
              <a:gd name="connsiteX220" fmla="*/ 6424035 w 7104063"/>
              <a:gd name="connsiteY220" fmla="*/ 6282405 h 6857999"/>
              <a:gd name="connsiteX221" fmla="*/ 6424675 w 7104063"/>
              <a:gd name="connsiteY221" fmla="*/ 6285160 h 6857999"/>
              <a:gd name="connsiteX222" fmla="*/ 6418041 w 7104063"/>
              <a:gd name="connsiteY222" fmla="*/ 6304869 h 6857999"/>
              <a:gd name="connsiteX223" fmla="*/ 6401668 w 7104063"/>
              <a:gd name="connsiteY223" fmla="*/ 6326809 h 6857999"/>
              <a:gd name="connsiteX224" fmla="*/ 6397788 w 7104063"/>
              <a:gd name="connsiteY224" fmla="*/ 6330340 h 6857999"/>
              <a:gd name="connsiteX225" fmla="*/ 6402987 w 7104063"/>
              <a:gd name="connsiteY225" fmla="*/ 6329661 h 6857999"/>
              <a:gd name="connsiteX226" fmla="*/ 6536045 w 7104063"/>
              <a:gd name="connsiteY226" fmla="*/ 6240232 h 6857999"/>
              <a:gd name="connsiteX227" fmla="*/ 6542776 w 7104063"/>
              <a:gd name="connsiteY227" fmla="*/ 6228670 h 6857999"/>
              <a:gd name="connsiteX228" fmla="*/ 6547238 w 7104063"/>
              <a:gd name="connsiteY228" fmla="*/ 6224422 h 6857999"/>
              <a:gd name="connsiteX229" fmla="*/ 6550866 w 7104063"/>
              <a:gd name="connsiteY229" fmla="*/ 6227370 h 6857999"/>
              <a:gd name="connsiteX230" fmla="*/ 6558877 w 7104063"/>
              <a:gd name="connsiteY230" fmla="*/ 6266925 h 6857999"/>
              <a:gd name="connsiteX231" fmla="*/ 6556685 w 7104063"/>
              <a:gd name="connsiteY231" fmla="*/ 6288690 h 6857999"/>
              <a:gd name="connsiteX232" fmla="*/ 6555580 w 7104063"/>
              <a:gd name="connsiteY232" fmla="*/ 6293831 h 6857999"/>
              <a:gd name="connsiteX233" fmla="*/ 6559459 w 7104063"/>
              <a:gd name="connsiteY233" fmla="*/ 6290242 h 6857999"/>
              <a:gd name="connsiteX234" fmla="*/ 6602137 w 7104063"/>
              <a:gd name="connsiteY234" fmla="*/ 6199416 h 6857999"/>
              <a:gd name="connsiteX235" fmla="*/ 6593058 w 7104063"/>
              <a:gd name="connsiteY235" fmla="*/ 6149561 h 6857999"/>
              <a:gd name="connsiteX236" fmla="*/ 6589314 w 7104063"/>
              <a:gd name="connsiteY236" fmla="*/ 6134954 h 6857999"/>
              <a:gd name="connsiteX237" fmla="*/ 6590168 w 7104063"/>
              <a:gd name="connsiteY237" fmla="*/ 6130938 h 6857999"/>
              <a:gd name="connsiteX238" fmla="*/ 6592748 w 7104063"/>
              <a:gd name="connsiteY238" fmla="*/ 6129580 h 6857999"/>
              <a:gd name="connsiteX239" fmla="*/ 6643884 w 7104063"/>
              <a:gd name="connsiteY239" fmla="*/ 6144265 h 6857999"/>
              <a:gd name="connsiteX240" fmla="*/ 6647763 w 7104063"/>
              <a:gd name="connsiteY240" fmla="*/ 6146205 h 6857999"/>
              <a:gd name="connsiteX241" fmla="*/ 6646056 w 7104063"/>
              <a:gd name="connsiteY241" fmla="*/ 6142189 h 6857999"/>
              <a:gd name="connsiteX242" fmla="*/ 6498391 w 7104063"/>
              <a:gd name="connsiteY242" fmla="*/ 6035689 h 6857999"/>
              <a:gd name="connsiteX243" fmla="*/ 6414549 w 7104063"/>
              <a:gd name="connsiteY243" fmla="*/ 6019491 h 6857999"/>
              <a:gd name="connsiteX244" fmla="*/ 6414530 w 7104063"/>
              <a:gd name="connsiteY244" fmla="*/ 6019394 h 6857999"/>
              <a:gd name="connsiteX245" fmla="*/ 6369640 w 7104063"/>
              <a:gd name="connsiteY245" fmla="*/ 6009151 h 6857999"/>
              <a:gd name="connsiteX246" fmla="*/ 6364073 w 7104063"/>
              <a:gd name="connsiteY246" fmla="*/ 6006649 h 6857999"/>
              <a:gd name="connsiteX247" fmla="*/ 6475268 w 7104063"/>
              <a:gd name="connsiteY247" fmla="*/ 5955145 h 6857999"/>
              <a:gd name="connsiteX248" fmla="*/ 6507994 w 7104063"/>
              <a:gd name="connsiteY248" fmla="*/ 5930450 h 6857999"/>
              <a:gd name="connsiteX249" fmla="*/ 6520021 w 7104063"/>
              <a:gd name="connsiteY249" fmla="*/ 5920944 h 6857999"/>
              <a:gd name="connsiteX250" fmla="*/ 6527781 w 7104063"/>
              <a:gd name="connsiteY250" fmla="*/ 5917064 h 6857999"/>
              <a:gd name="connsiteX251" fmla="*/ 6531137 w 7104063"/>
              <a:gd name="connsiteY251" fmla="*/ 5918752 h 6857999"/>
              <a:gd name="connsiteX252" fmla="*/ 6536394 w 7104063"/>
              <a:gd name="connsiteY252" fmla="*/ 5943137 h 6857999"/>
              <a:gd name="connsiteX253" fmla="*/ 6533077 w 7104063"/>
              <a:gd name="connsiteY253" fmla="*/ 5968724 h 6857999"/>
              <a:gd name="connsiteX254" fmla="*/ 6531893 w 7104063"/>
              <a:gd name="connsiteY254" fmla="*/ 5972933 h 6857999"/>
              <a:gd name="connsiteX255" fmla="*/ 6535560 w 7104063"/>
              <a:gd name="connsiteY255" fmla="*/ 5970567 h 6857999"/>
              <a:gd name="connsiteX256" fmla="*/ 6578238 w 7104063"/>
              <a:gd name="connsiteY256" fmla="*/ 5897530 h 6857999"/>
              <a:gd name="connsiteX257" fmla="*/ 6554144 w 7104063"/>
              <a:gd name="connsiteY257" fmla="*/ 5844047 h 6857999"/>
              <a:gd name="connsiteX258" fmla="*/ 6549643 w 7104063"/>
              <a:gd name="connsiteY258" fmla="*/ 5838809 h 6857999"/>
              <a:gd name="connsiteX259" fmla="*/ 6547432 w 7104063"/>
              <a:gd name="connsiteY259" fmla="*/ 5835608 h 6857999"/>
              <a:gd name="connsiteX260" fmla="*/ 6550051 w 7104063"/>
              <a:gd name="connsiteY260" fmla="*/ 5832427 h 6857999"/>
              <a:gd name="connsiteX261" fmla="*/ 6578373 w 7104063"/>
              <a:gd name="connsiteY261" fmla="*/ 5825094 h 6857999"/>
              <a:gd name="connsiteX262" fmla="*/ 6597598 w 7104063"/>
              <a:gd name="connsiteY262" fmla="*/ 5827344 h 6857999"/>
              <a:gd name="connsiteX263" fmla="*/ 6602118 w 7104063"/>
              <a:gd name="connsiteY263" fmla="*/ 5828372 h 6857999"/>
              <a:gd name="connsiteX264" fmla="*/ 6599266 w 7104063"/>
              <a:gd name="connsiteY264" fmla="*/ 5824706 h 6857999"/>
              <a:gd name="connsiteX265" fmla="*/ 6520487 w 7104063"/>
              <a:gd name="connsiteY265" fmla="*/ 5783658 h 6857999"/>
              <a:gd name="connsiteX266" fmla="*/ 6469138 w 7104063"/>
              <a:gd name="connsiteY266" fmla="*/ 5793571 h 6857999"/>
              <a:gd name="connsiteX267" fmla="*/ 6449952 w 7104063"/>
              <a:gd name="connsiteY267" fmla="*/ 5798401 h 6857999"/>
              <a:gd name="connsiteX268" fmla="*/ 6448905 w 7104063"/>
              <a:gd name="connsiteY268" fmla="*/ 5798304 h 6857999"/>
              <a:gd name="connsiteX269" fmla="*/ 6458720 w 7104063"/>
              <a:gd name="connsiteY269" fmla="*/ 5777508 h 6857999"/>
              <a:gd name="connsiteX270" fmla="*/ 6487179 w 7104063"/>
              <a:gd name="connsiteY270" fmla="*/ 5752484 h 6857999"/>
              <a:gd name="connsiteX271" fmla="*/ 6491660 w 7104063"/>
              <a:gd name="connsiteY271" fmla="*/ 5749787 h 6857999"/>
              <a:gd name="connsiteX272" fmla="*/ 6486519 w 7104063"/>
              <a:gd name="connsiteY272" fmla="*/ 5749515 h 6857999"/>
              <a:gd name="connsiteX273" fmla="*/ 6479555 w 7104063"/>
              <a:gd name="connsiteY273" fmla="*/ 5749263 h 6857999"/>
              <a:gd name="connsiteX274" fmla="*/ 6313868 w 7104063"/>
              <a:gd name="connsiteY274" fmla="*/ 5811592 h 6857999"/>
              <a:gd name="connsiteX275" fmla="*/ 6200733 w 7104063"/>
              <a:gd name="connsiteY275" fmla="*/ 5852718 h 6857999"/>
              <a:gd name="connsiteX276" fmla="*/ 6195476 w 7104063"/>
              <a:gd name="connsiteY276" fmla="*/ 5845696 h 6857999"/>
              <a:gd name="connsiteX277" fmla="*/ 6218328 w 7104063"/>
              <a:gd name="connsiteY277" fmla="*/ 5808993 h 6857999"/>
              <a:gd name="connsiteX278" fmla="*/ 6472145 w 7104063"/>
              <a:gd name="connsiteY278" fmla="*/ 5707187 h 6857999"/>
              <a:gd name="connsiteX279" fmla="*/ 6472145 w 7104063"/>
              <a:gd name="connsiteY279" fmla="*/ 5683559 h 6857999"/>
              <a:gd name="connsiteX280" fmla="*/ 6267311 w 7104063"/>
              <a:gd name="connsiteY280" fmla="*/ 5743269 h 6857999"/>
              <a:gd name="connsiteX281" fmla="*/ 6198153 w 7104063"/>
              <a:gd name="connsiteY281" fmla="*/ 5796500 h 6857999"/>
              <a:gd name="connsiteX282" fmla="*/ 6171926 w 7104063"/>
              <a:gd name="connsiteY282" fmla="*/ 5845676 h 6857999"/>
              <a:gd name="connsiteX283" fmla="*/ 6179783 w 7104063"/>
              <a:gd name="connsiteY283" fmla="*/ 5864319 h 6857999"/>
              <a:gd name="connsiteX284" fmla="*/ 6227077 w 7104063"/>
              <a:gd name="connsiteY284" fmla="*/ 5880129 h 6857999"/>
              <a:gd name="connsiteX285" fmla="*/ 6302151 w 7104063"/>
              <a:gd name="connsiteY285" fmla="*/ 5882437 h 6857999"/>
              <a:gd name="connsiteX286" fmla="*/ 6307137 w 7104063"/>
              <a:gd name="connsiteY286" fmla="*/ 5882437 h 6857999"/>
              <a:gd name="connsiteX287" fmla="*/ 6399961 w 7104063"/>
              <a:gd name="connsiteY287" fmla="*/ 5886317 h 6857999"/>
              <a:gd name="connsiteX288" fmla="*/ 6420970 w 7104063"/>
              <a:gd name="connsiteY288" fmla="*/ 5891787 h 6857999"/>
              <a:gd name="connsiteX289" fmla="*/ 6426790 w 7104063"/>
              <a:gd name="connsiteY289" fmla="*/ 5898655 h 6857999"/>
              <a:gd name="connsiteX290" fmla="*/ 6423026 w 7104063"/>
              <a:gd name="connsiteY290" fmla="*/ 5904474 h 6857999"/>
              <a:gd name="connsiteX291" fmla="*/ 6367409 w 7104063"/>
              <a:gd name="connsiteY291" fmla="*/ 5942787 h 6857999"/>
              <a:gd name="connsiteX292" fmla="*/ 6338311 w 7104063"/>
              <a:gd name="connsiteY292" fmla="*/ 5966551 h 6857999"/>
              <a:gd name="connsiteX293" fmla="*/ 6325294 w 7104063"/>
              <a:gd name="connsiteY293" fmla="*/ 5991653 h 6857999"/>
              <a:gd name="connsiteX294" fmla="*/ 6325294 w 7104063"/>
              <a:gd name="connsiteY294" fmla="*/ 5992061 h 6857999"/>
              <a:gd name="connsiteX295" fmla="*/ 6339999 w 7104063"/>
              <a:gd name="connsiteY295" fmla="*/ 6018540 h 6857999"/>
              <a:gd name="connsiteX296" fmla="*/ 6450825 w 7104063"/>
              <a:gd name="connsiteY296" fmla="*/ 6049579 h 6857999"/>
              <a:gd name="connsiteX297" fmla="*/ 6483221 w 7104063"/>
              <a:gd name="connsiteY297" fmla="*/ 6066048 h 6857999"/>
              <a:gd name="connsiteX298" fmla="*/ 6489274 w 7104063"/>
              <a:gd name="connsiteY298" fmla="*/ 6087290 h 6857999"/>
              <a:gd name="connsiteX299" fmla="*/ 6463570 w 7104063"/>
              <a:gd name="connsiteY299" fmla="*/ 6148882 h 6857999"/>
              <a:gd name="connsiteX300" fmla="*/ 6405470 w 7104063"/>
              <a:gd name="connsiteY300" fmla="*/ 6171113 h 6857999"/>
              <a:gd name="connsiteX301" fmla="*/ 6402405 w 7104063"/>
              <a:gd name="connsiteY301" fmla="*/ 6171113 h 6857999"/>
              <a:gd name="connsiteX302" fmla="*/ 6403317 w 7104063"/>
              <a:gd name="connsiteY302" fmla="*/ 6156642 h 6857999"/>
              <a:gd name="connsiteX303" fmla="*/ 6372317 w 7104063"/>
              <a:gd name="connsiteY303" fmla="*/ 6086495 h 6857999"/>
              <a:gd name="connsiteX304" fmla="*/ 6293752 w 7104063"/>
              <a:gd name="connsiteY304" fmla="*/ 6060112 h 6857999"/>
              <a:gd name="connsiteX305" fmla="*/ 6201626 w 7104063"/>
              <a:gd name="connsiteY305" fmla="*/ 6100482 h 6857999"/>
              <a:gd name="connsiteX306" fmla="*/ 6168376 w 7104063"/>
              <a:gd name="connsiteY306" fmla="*/ 6187932 h 6857999"/>
              <a:gd name="connsiteX307" fmla="*/ 6235671 w 7104063"/>
              <a:gd name="connsiteY307" fmla="*/ 6324346 h 6857999"/>
              <a:gd name="connsiteX308" fmla="*/ 6432823 w 7104063"/>
              <a:gd name="connsiteY308" fmla="*/ 6386422 h 6857999"/>
              <a:gd name="connsiteX309" fmla="*/ 6623030 w 7104063"/>
              <a:gd name="connsiteY309" fmla="*/ 6324346 h 6857999"/>
              <a:gd name="connsiteX310" fmla="*/ 6718259 w 7104063"/>
              <a:gd name="connsiteY310" fmla="*/ 6134352 h 6857999"/>
              <a:gd name="connsiteX311" fmla="*/ 6626619 w 7104063"/>
              <a:gd name="connsiteY311" fmla="*/ 5977473 h 6857999"/>
              <a:gd name="connsiteX312" fmla="*/ 6611099 w 7104063"/>
              <a:gd name="connsiteY312" fmla="*/ 5965213 h 6857999"/>
              <a:gd name="connsiteX313" fmla="*/ 6618258 w 7104063"/>
              <a:gd name="connsiteY313" fmla="*/ 5954310 h 6857999"/>
              <a:gd name="connsiteX314" fmla="*/ 6661905 w 7104063"/>
              <a:gd name="connsiteY314" fmla="*/ 5831282 h 6857999"/>
              <a:gd name="connsiteX315" fmla="*/ 6619402 w 7104063"/>
              <a:gd name="connsiteY315" fmla="*/ 5731688 h 6857999"/>
              <a:gd name="connsiteX316" fmla="*/ 6472145 w 7104063"/>
              <a:gd name="connsiteY316" fmla="*/ 5683559 h 6857999"/>
              <a:gd name="connsiteX317" fmla="*/ 0 w 7104063"/>
              <a:gd name="connsiteY317" fmla="*/ 0 h 6857999"/>
              <a:gd name="connsiteX318" fmla="*/ 7104063 w 7104063"/>
              <a:gd name="connsiteY318" fmla="*/ 0 h 6857999"/>
              <a:gd name="connsiteX319" fmla="*/ 7104063 w 7104063"/>
              <a:gd name="connsiteY319" fmla="*/ 6857999 h 6857999"/>
              <a:gd name="connsiteX320" fmla="*/ 0 w 7104063"/>
              <a:gd name="connsiteY32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7104063" h="6857999">
                <a:moveTo>
                  <a:pt x="6603089" y="6510555"/>
                </a:moveTo>
                <a:lnTo>
                  <a:pt x="6603069" y="6519246"/>
                </a:lnTo>
                <a:cubicBezTo>
                  <a:pt x="6603069" y="6524348"/>
                  <a:pt x="6602410" y="6538800"/>
                  <a:pt x="6584194" y="6538800"/>
                </a:cubicBezTo>
                <a:cubicBezTo>
                  <a:pt x="6576628" y="6538800"/>
                  <a:pt x="6569897" y="6536666"/>
                  <a:pt x="6569897" y="6527956"/>
                </a:cubicBezTo>
                <a:cubicBezTo>
                  <a:pt x="6569897" y="6519246"/>
                  <a:pt x="6576473" y="6516957"/>
                  <a:pt x="6583690" y="6515483"/>
                </a:cubicBezTo>
                <a:cubicBezTo>
                  <a:pt x="6590906" y="6514008"/>
                  <a:pt x="6599209" y="6514008"/>
                  <a:pt x="6603089" y="6510555"/>
                </a:cubicBezTo>
                <a:close/>
                <a:moveTo>
                  <a:pt x="6675408" y="6482485"/>
                </a:moveTo>
                <a:cubicBezTo>
                  <a:pt x="6690500" y="6482485"/>
                  <a:pt x="6695272" y="6494804"/>
                  <a:pt x="6695272" y="6508577"/>
                </a:cubicBezTo>
                <a:cubicBezTo>
                  <a:pt x="6695272" y="6520740"/>
                  <a:pt x="6688696" y="6532069"/>
                  <a:pt x="6675408" y="6532069"/>
                </a:cubicBezTo>
                <a:cubicBezTo>
                  <a:pt x="6661111" y="6532069"/>
                  <a:pt x="6656532" y="6518761"/>
                  <a:pt x="6656532" y="6506618"/>
                </a:cubicBezTo>
                <a:cubicBezTo>
                  <a:pt x="6656532" y="6493989"/>
                  <a:pt x="6662352" y="6482485"/>
                  <a:pt x="6675408" y="6482485"/>
                </a:cubicBezTo>
                <a:close/>
                <a:moveTo>
                  <a:pt x="6444036" y="6482485"/>
                </a:moveTo>
                <a:cubicBezTo>
                  <a:pt x="6455365" y="6482485"/>
                  <a:pt x="6460466" y="6488732"/>
                  <a:pt x="6462600" y="6500546"/>
                </a:cubicBezTo>
                <a:lnTo>
                  <a:pt x="6424637" y="6500546"/>
                </a:lnTo>
                <a:cubicBezTo>
                  <a:pt x="6424966" y="6493970"/>
                  <a:pt x="6429234" y="6482485"/>
                  <a:pt x="6444036" y="6482485"/>
                </a:cubicBezTo>
                <a:close/>
                <a:moveTo>
                  <a:pt x="6295536" y="6482408"/>
                </a:moveTo>
                <a:cubicBezTo>
                  <a:pt x="6311288" y="6482408"/>
                  <a:pt x="6316216" y="6495987"/>
                  <a:pt x="6316216" y="6509663"/>
                </a:cubicBezTo>
                <a:cubicBezTo>
                  <a:pt x="6316216" y="6523340"/>
                  <a:pt x="6311463" y="6536822"/>
                  <a:pt x="6295536" y="6536822"/>
                </a:cubicBezTo>
                <a:cubicBezTo>
                  <a:pt x="6279784" y="6536822"/>
                  <a:pt x="6275012" y="6523243"/>
                  <a:pt x="6275012" y="6509663"/>
                </a:cubicBezTo>
                <a:cubicBezTo>
                  <a:pt x="6275012" y="6496084"/>
                  <a:pt x="6279784" y="6482408"/>
                  <a:pt x="6295536" y="6482408"/>
                </a:cubicBezTo>
                <a:close/>
                <a:moveTo>
                  <a:pt x="6669724" y="6464968"/>
                </a:moveTo>
                <a:cubicBezTo>
                  <a:pt x="6645921" y="6464968"/>
                  <a:pt x="6633273" y="6485007"/>
                  <a:pt x="6633273" y="6507006"/>
                </a:cubicBezTo>
                <a:cubicBezTo>
                  <a:pt x="6633273" y="6530284"/>
                  <a:pt x="6644098" y="6549683"/>
                  <a:pt x="6669549" y="6549683"/>
                </a:cubicBezTo>
                <a:cubicBezTo>
                  <a:pt x="6679734" y="6549683"/>
                  <a:pt x="6689899" y="6545416"/>
                  <a:pt x="6695001" y="6536550"/>
                </a:cubicBezTo>
                <a:lnTo>
                  <a:pt x="6695330" y="6536550"/>
                </a:lnTo>
                <a:lnTo>
                  <a:pt x="6695330" y="6547705"/>
                </a:lnTo>
                <a:cubicBezTo>
                  <a:pt x="6695486" y="6559868"/>
                  <a:pt x="6689511" y="6568714"/>
                  <a:pt x="6676610" y="6568714"/>
                </a:cubicBezTo>
                <a:cubicBezTo>
                  <a:pt x="6668405" y="6568714"/>
                  <a:pt x="6661343" y="6565765"/>
                  <a:pt x="6659151" y="6557074"/>
                </a:cubicBezTo>
                <a:lnTo>
                  <a:pt x="6636008" y="6557074"/>
                </a:lnTo>
                <a:cubicBezTo>
                  <a:pt x="6637153" y="6576473"/>
                  <a:pt x="6656688" y="6584330"/>
                  <a:pt x="6673429" y="6584330"/>
                </a:cubicBezTo>
                <a:cubicBezTo>
                  <a:pt x="6712498" y="6584330"/>
                  <a:pt x="6717426" y="6560682"/>
                  <a:pt x="6717426" y="6546735"/>
                </a:cubicBezTo>
                <a:lnTo>
                  <a:pt x="6717426" y="6467276"/>
                </a:lnTo>
                <a:lnTo>
                  <a:pt x="6695272" y="6467276"/>
                </a:lnTo>
                <a:lnTo>
                  <a:pt x="6695272" y="6478547"/>
                </a:lnTo>
                <a:lnTo>
                  <a:pt x="6694942" y="6478547"/>
                </a:lnTo>
                <a:cubicBezTo>
                  <a:pt x="6689355" y="6468693"/>
                  <a:pt x="6680820" y="6464968"/>
                  <a:pt x="6669724" y="6464968"/>
                </a:cubicBezTo>
                <a:close/>
                <a:moveTo>
                  <a:pt x="6589083" y="6464929"/>
                </a:moveTo>
                <a:cubicBezTo>
                  <a:pt x="6570033" y="6464929"/>
                  <a:pt x="6550498" y="6471486"/>
                  <a:pt x="6549179" y="6493329"/>
                </a:cubicBezTo>
                <a:lnTo>
                  <a:pt x="6572458" y="6493329"/>
                </a:lnTo>
                <a:cubicBezTo>
                  <a:pt x="6573272" y="6484134"/>
                  <a:pt x="6579014" y="6480526"/>
                  <a:pt x="6587977" y="6480526"/>
                </a:cubicBezTo>
                <a:cubicBezTo>
                  <a:pt x="6596183" y="6480526"/>
                  <a:pt x="6603089" y="6482000"/>
                  <a:pt x="6603089" y="6492010"/>
                </a:cubicBezTo>
                <a:cubicBezTo>
                  <a:pt x="6603089" y="6501535"/>
                  <a:pt x="6589800" y="6501030"/>
                  <a:pt x="6575503" y="6503164"/>
                </a:cubicBezTo>
                <a:cubicBezTo>
                  <a:pt x="6561206" y="6505298"/>
                  <a:pt x="6546657" y="6509741"/>
                  <a:pt x="6546657" y="6528946"/>
                </a:cubicBezTo>
                <a:cubicBezTo>
                  <a:pt x="6546657" y="6546405"/>
                  <a:pt x="6559460" y="6554397"/>
                  <a:pt x="6575542" y="6554397"/>
                </a:cubicBezTo>
                <a:cubicBezTo>
                  <a:pt x="6585882" y="6554397"/>
                  <a:pt x="6596726" y="6551604"/>
                  <a:pt x="6604117" y="6543883"/>
                </a:cubicBezTo>
                <a:cubicBezTo>
                  <a:pt x="6604328" y="6546674"/>
                  <a:pt x="6604875" y="6549429"/>
                  <a:pt x="6605746" y="6552089"/>
                </a:cubicBezTo>
                <a:lnTo>
                  <a:pt x="6629297" y="6552089"/>
                </a:lnTo>
                <a:cubicBezTo>
                  <a:pt x="6627163" y="6548636"/>
                  <a:pt x="6626348" y="6540934"/>
                  <a:pt x="6626348" y="6533213"/>
                </a:cubicBezTo>
                <a:lnTo>
                  <a:pt x="6626348" y="6489061"/>
                </a:lnTo>
                <a:cubicBezTo>
                  <a:pt x="6626348" y="6468692"/>
                  <a:pt x="6605979" y="6464929"/>
                  <a:pt x="6589083" y="6464929"/>
                </a:cubicBezTo>
                <a:close/>
                <a:moveTo>
                  <a:pt x="6444656" y="6464910"/>
                </a:moveTo>
                <a:cubicBezTo>
                  <a:pt x="6418875" y="6464910"/>
                  <a:pt x="6401319" y="6484309"/>
                  <a:pt x="6401319" y="6509722"/>
                </a:cubicBezTo>
                <a:cubicBezTo>
                  <a:pt x="6401319" y="6536007"/>
                  <a:pt x="6417905" y="6554339"/>
                  <a:pt x="6444656" y="6554339"/>
                </a:cubicBezTo>
                <a:cubicBezTo>
                  <a:pt x="6463861" y="6554339"/>
                  <a:pt x="6477809" y="6545804"/>
                  <a:pt x="6484385" y="6525784"/>
                </a:cubicBezTo>
                <a:lnTo>
                  <a:pt x="6463861" y="6525784"/>
                </a:lnTo>
                <a:cubicBezTo>
                  <a:pt x="6462387" y="6531022"/>
                  <a:pt x="6454841" y="6536783"/>
                  <a:pt x="6445490" y="6536783"/>
                </a:cubicBezTo>
                <a:cubicBezTo>
                  <a:pt x="6432513" y="6536783"/>
                  <a:pt x="6425277" y="6530052"/>
                  <a:pt x="6424637" y="6515270"/>
                </a:cubicBezTo>
                <a:lnTo>
                  <a:pt x="6485860" y="6515270"/>
                </a:lnTo>
                <a:cubicBezTo>
                  <a:pt x="6487509" y="6489217"/>
                  <a:pt x="6473541" y="6464910"/>
                  <a:pt x="6444656" y="6464910"/>
                </a:cubicBezTo>
                <a:close/>
                <a:moveTo>
                  <a:pt x="6396353" y="6464910"/>
                </a:moveTo>
                <a:cubicBezTo>
                  <a:pt x="6384537" y="6465065"/>
                  <a:pt x="6373909" y="6472134"/>
                  <a:pt x="6369195" y="6482970"/>
                </a:cubicBezTo>
                <a:lnTo>
                  <a:pt x="6368865" y="6482970"/>
                </a:lnTo>
                <a:lnTo>
                  <a:pt x="6368865" y="6467277"/>
                </a:lnTo>
                <a:lnTo>
                  <a:pt x="6346847" y="6467277"/>
                </a:lnTo>
                <a:lnTo>
                  <a:pt x="6346847" y="6552147"/>
                </a:lnTo>
                <a:lnTo>
                  <a:pt x="6370126" y="6552147"/>
                </a:lnTo>
                <a:lnTo>
                  <a:pt x="6370126" y="6513834"/>
                </a:lnTo>
                <a:cubicBezTo>
                  <a:pt x="6370126" y="6498897"/>
                  <a:pt x="6375945" y="6486676"/>
                  <a:pt x="6393114" y="6486676"/>
                </a:cubicBezTo>
                <a:cubicBezTo>
                  <a:pt x="6395926" y="6486666"/>
                  <a:pt x="6398735" y="6486938"/>
                  <a:pt x="6401494" y="6487490"/>
                </a:cubicBezTo>
                <a:lnTo>
                  <a:pt x="6401455" y="6465744"/>
                </a:lnTo>
                <a:cubicBezTo>
                  <a:pt x="6399806" y="6465215"/>
                  <a:pt x="6398086" y="6464933"/>
                  <a:pt x="6396353" y="6464910"/>
                </a:cubicBezTo>
                <a:close/>
                <a:moveTo>
                  <a:pt x="6295536" y="6464910"/>
                </a:moveTo>
                <a:cubicBezTo>
                  <a:pt x="6268940" y="6464910"/>
                  <a:pt x="6251714" y="6482641"/>
                  <a:pt x="6251714" y="6509722"/>
                </a:cubicBezTo>
                <a:cubicBezTo>
                  <a:pt x="6251714" y="6536803"/>
                  <a:pt x="6268940" y="6554339"/>
                  <a:pt x="6295536" y="6554339"/>
                </a:cubicBezTo>
                <a:cubicBezTo>
                  <a:pt x="6322132" y="6554339"/>
                  <a:pt x="6339533" y="6536609"/>
                  <a:pt x="6339533" y="6509722"/>
                </a:cubicBezTo>
                <a:cubicBezTo>
                  <a:pt x="6339533" y="6482835"/>
                  <a:pt x="6322307" y="6464910"/>
                  <a:pt x="6295536" y="6464910"/>
                </a:cubicBezTo>
                <a:close/>
                <a:moveTo>
                  <a:pt x="6501107" y="6441767"/>
                </a:moveTo>
                <a:lnTo>
                  <a:pt x="6501107" y="6467277"/>
                </a:lnTo>
                <a:lnTo>
                  <a:pt x="6486985" y="6467277"/>
                </a:lnTo>
                <a:lnTo>
                  <a:pt x="6486985" y="6482796"/>
                </a:lnTo>
                <a:lnTo>
                  <a:pt x="6501107" y="6482796"/>
                </a:lnTo>
                <a:lnTo>
                  <a:pt x="6501107" y="6532865"/>
                </a:lnTo>
                <a:cubicBezTo>
                  <a:pt x="6501107" y="6549780"/>
                  <a:pt x="6513581" y="6553059"/>
                  <a:pt x="6527859" y="6553059"/>
                </a:cubicBezTo>
                <a:cubicBezTo>
                  <a:pt x="6532400" y="6553135"/>
                  <a:pt x="6536939" y="6552861"/>
                  <a:pt x="6541438" y="6552244"/>
                </a:cubicBezTo>
                <a:lnTo>
                  <a:pt x="6541438" y="6534009"/>
                </a:lnTo>
                <a:cubicBezTo>
                  <a:pt x="6539060" y="6534469"/>
                  <a:pt x="6536642" y="6534690"/>
                  <a:pt x="6534221" y="6534669"/>
                </a:cubicBezTo>
                <a:cubicBezTo>
                  <a:pt x="6526326" y="6534669"/>
                  <a:pt x="6524367" y="6532729"/>
                  <a:pt x="6524367" y="6524814"/>
                </a:cubicBezTo>
                <a:lnTo>
                  <a:pt x="6524367" y="6482796"/>
                </a:lnTo>
                <a:lnTo>
                  <a:pt x="6541438" y="6482796"/>
                </a:lnTo>
                <a:lnTo>
                  <a:pt x="6541438" y="6467277"/>
                </a:lnTo>
                <a:lnTo>
                  <a:pt x="6524367" y="6467277"/>
                </a:lnTo>
                <a:lnTo>
                  <a:pt x="6524386" y="6441767"/>
                </a:lnTo>
                <a:close/>
                <a:moveTo>
                  <a:pt x="6301453" y="6434880"/>
                </a:moveTo>
                <a:lnTo>
                  <a:pt x="6301453" y="6454085"/>
                </a:lnTo>
                <a:lnTo>
                  <a:pt x="6323607" y="6454085"/>
                </a:lnTo>
                <a:lnTo>
                  <a:pt x="6323607" y="6434880"/>
                </a:lnTo>
                <a:close/>
                <a:moveTo>
                  <a:pt x="6267641" y="6434880"/>
                </a:moveTo>
                <a:lnTo>
                  <a:pt x="6267641" y="6454085"/>
                </a:lnTo>
                <a:lnTo>
                  <a:pt x="6289795" y="6454085"/>
                </a:lnTo>
                <a:lnTo>
                  <a:pt x="6289795" y="6434880"/>
                </a:lnTo>
                <a:close/>
                <a:moveTo>
                  <a:pt x="6169211" y="6434880"/>
                </a:moveTo>
                <a:lnTo>
                  <a:pt x="6169211" y="6552089"/>
                </a:lnTo>
                <a:lnTo>
                  <a:pt x="6194992" y="6552089"/>
                </a:lnTo>
                <a:lnTo>
                  <a:pt x="6194992" y="6503669"/>
                </a:lnTo>
                <a:lnTo>
                  <a:pt x="6244072" y="6503669"/>
                </a:lnTo>
                <a:lnTo>
                  <a:pt x="6244072" y="6483649"/>
                </a:lnTo>
                <a:lnTo>
                  <a:pt x="6194992" y="6483649"/>
                </a:lnTo>
                <a:lnTo>
                  <a:pt x="6194992" y="6456549"/>
                </a:lnTo>
                <a:lnTo>
                  <a:pt x="6251637" y="6456549"/>
                </a:lnTo>
                <a:lnTo>
                  <a:pt x="6251637" y="6434880"/>
                </a:lnTo>
                <a:close/>
                <a:moveTo>
                  <a:pt x="6499555" y="6050762"/>
                </a:moveTo>
                <a:cubicBezTo>
                  <a:pt x="6545298" y="6061684"/>
                  <a:pt x="6592806" y="6085195"/>
                  <a:pt x="6619228" y="6120598"/>
                </a:cubicBezTo>
                <a:cubicBezTo>
                  <a:pt x="6610046" y="6117399"/>
                  <a:pt x="6600395" y="6115747"/>
                  <a:pt x="6590672" y="6115710"/>
                </a:cubicBezTo>
                <a:cubicBezTo>
                  <a:pt x="6582137" y="6115846"/>
                  <a:pt x="6575347" y="6124730"/>
                  <a:pt x="6575328" y="6134895"/>
                </a:cubicBezTo>
                <a:cubicBezTo>
                  <a:pt x="6575328" y="6140230"/>
                  <a:pt x="6577268" y="6146263"/>
                  <a:pt x="6579770" y="6153829"/>
                </a:cubicBezTo>
                <a:cubicBezTo>
                  <a:pt x="6583650" y="6165468"/>
                  <a:pt x="6588500" y="6180677"/>
                  <a:pt x="6588500" y="6198757"/>
                </a:cubicBezTo>
                <a:cubicBezTo>
                  <a:pt x="6588500" y="6215401"/>
                  <a:pt x="6584368" y="6234548"/>
                  <a:pt x="6571235" y="6255945"/>
                </a:cubicBezTo>
                <a:cubicBezTo>
                  <a:pt x="6570847" y="6238699"/>
                  <a:pt x="6566191" y="6224907"/>
                  <a:pt x="6560216" y="6217535"/>
                </a:cubicBezTo>
                <a:cubicBezTo>
                  <a:pt x="6555521" y="6211832"/>
                  <a:pt x="6550516" y="6210377"/>
                  <a:pt x="6547141" y="6210396"/>
                </a:cubicBezTo>
                <a:cubicBezTo>
                  <a:pt x="6541907" y="6210524"/>
                  <a:pt x="6537022" y="6213048"/>
                  <a:pt x="6533892" y="6217244"/>
                </a:cubicBezTo>
                <a:cubicBezTo>
                  <a:pt x="6530002" y="6222259"/>
                  <a:pt x="6526617" y="6227646"/>
                  <a:pt x="6523785" y="6233326"/>
                </a:cubicBezTo>
                <a:cubicBezTo>
                  <a:pt x="6511195" y="6255906"/>
                  <a:pt x="6491388" y="6291911"/>
                  <a:pt x="6429389" y="6310553"/>
                </a:cubicBezTo>
                <a:cubicBezTo>
                  <a:pt x="6434996" y="6300853"/>
                  <a:pt x="6437905" y="6290999"/>
                  <a:pt x="6437925" y="6283045"/>
                </a:cubicBezTo>
                <a:cubicBezTo>
                  <a:pt x="6437979" y="6280176"/>
                  <a:pt x="6437479" y="6277324"/>
                  <a:pt x="6436450" y="6274646"/>
                </a:cubicBezTo>
                <a:cubicBezTo>
                  <a:pt x="6434827" y="6270124"/>
                  <a:pt x="6430547" y="6267099"/>
                  <a:pt x="6425742" y="6267080"/>
                </a:cubicBezTo>
                <a:lnTo>
                  <a:pt x="6425587" y="6267080"/>
                </a:lnTo>
                <a:cubicBezTo>
                  <a:pt x="6418836" y="6267332"/>
                  <a:pt x="6410921" y="6269485"/>
                  <a:pt x="6401784" y="6272104"/>
                </a:cubicBezTo>
                <a:cubicBezTo>
                  <a:pt x="6387584" y="6276100"/>
                  <a:pt x="6370125" y="6281047"/>
                  <a:pt x="6351153" y="6281047"/>
                </a:cubicBezTo>
                <a:cubicBezTo>
                  <a:pt x="6331444" y="6281047"/>
                  <a:pt x="6309911" y="6275887"/>
                  <a:pt x="6287777" y="6259126"/>
                </a:cubicBezTo>
                <a:cubicBezTo>
                  <a:pt x="6294869" y="6258284"/>
                  <a:pt x="6301587" y="6255483"/>
                  <a:pt x="6307176" y="6251037"/>
                </a:cubicBezTo>
                <a:cubicBezTo>
                  <a:pt x="6311129" y="6247925"/>
                  <a:pt x="6313547" y="6243258"/>
                  <a:pt x="6313810" y="6238234"/>
                </a:cubicBezTo>
                <a:cubicBezTo>
                  <a:pt x="6313810" y="6230978"/>
                  <a:pt x="6307990" y="6226012"/>
                  <a:pt x="6301511" y="6220037"/>
                </a:cubicBezTo>
                <a:cubicBezTo>
                  <a:pt x="6292044" y="6211095"/>
                  <a:pt x="6280715" y="6200638"/>
                  <a:pt x="6280735" y="6182888"/>
                </a:cubicBezTo>
                <a:cubicBezTo>
                  <a:pt x="6280811" y="6176929"/>
                  <a:pt x="6281893" y="6171028"/>
                  <a:pt x="6283936" y="6165429"/>
                </a:cubicBezTo>
                <a:cubicBezTo>
                  <a:pt x="6285873" y="6170927"/>
                  <a:pt x="6288835" y="6176010"/>
                  <a:pt x="6292665" y="6180405"/>
                </a:cubicBezTo>
                <a:cubicBezTo>
                  <a:pt x="6298485" y="6186632"/>
                  <a:pt x="6305372" y="6190493"/>
                  <a:pt x="6312064" y="6190493"/>
                </a:cubicBezTo>
                <a:cubicBezTo>
                  <a:pt x="6319184" y="6190590"/>
                  <a:pt x="6323393" y="6187156"/>
                  <a:pt x="6325197" y="6182869"/>
                </a:cubicBezTo>
                <a:cubicBezTo>
                  <a:pt x="6326650" y="6178690"/>
                  <a:pt x="6327256" y="6174267"/>
                  <a:pt x="6326982" y="6169852"/>
                </a:cubicBezTo>
                <a:cubicBezTo>
                  <a:pt x="6327092" y="6165418"/>
                  <a:pt x="6328996" y="6161218"/>
                  <a:pt x="6332259" y="6158213"/>
                </a:cubicBezTo>
                <a:cubicBezTo>
                  <a:pt x="6335560" y="6154938"/>
                  <a:pt x="6340005" y="6153074"/>
                  <a:pt x="6344655" y="6153014"/>
                </a:cubicBezTo>
                <a:cubicBezTo>
                  <a:pt x="6355072" y="6153014"/>
                  <a:pt x="6362967" y="6158834"/>
                  <a:pt x="6368496" y="6167486"/>
                </a:cubicBezTo>
                <a:cubicBezTo>
                  <a:pt x="6374048" y="6176881"/>
                  <a:pt x="6376931" y="6187612"/>
                  <a:pt x="6376837" y="6198524"/>
                </a:cubicBezTo>
                <a:cubicBezTo>
                  <a:pt x="6376932" y="6204821"/>
                  <a:pt x="6375811" y="6211079"/>
                  <a:pt x="6373540" y="6216953"/>
                </a:cubicBezTo>
                <a:lnTo>
                  <a:pt x="6371153" y="6222773"/>
                </a:lnTo>
                <a:lnTo>
                  <a:pt x="6376061" y="6218893"/>
                </a:lnTo>
                <a:cubicBezTo>
                  <a:pt x="6384537" y="6212187"/>
                  <a:pt x="6391371" y="6203634"/>
                  <a:pt x="6396042" y="6193888"/>
                </a:cubicBezTo>
                <a:cubicBezTo>
                  <a:pt x="6398545" y="6194004"/>
                  <a:pt x="6401009" y="6194062"/>
                  <a:pt x="6403453" y="6194062"/>
                </a:cubicBezTo>
                <a:lnTo>
                  <a:pt x="6403453" y="6193985"/>
                </a:lnTo>
                <a:cubicBezTo>
                  <a:pt x="6434142" y="6193985"/>
                  <a:pt x="6459710" y="6184654"/>
                  <a:pt x="6479536" y="6166477"/>
                </a:cubicBezTo>
                <a:cubicBezTo>
                  <a:pt x="6500680" y="6147214"/>
                  <a:pt x="6512708" y="6118406"/>
                  <a:pt x="6512708" y="6087445"/>
                </a:cubicBezTo>
                <a:cubicBezTo>
                  <a:pt x="6512708" y="6072625"/>
                  <a:pt x="6508091" y="6060287"/>
                  <a:pt x="6499555" y="6050762"/>
                </a:cubicBezTo>
                <a:close/>
                <a:moveTo>
                  <a:pt x="6450922" y="5766140"/>
                </a:moveTo>
                <a:cubicBezTo>
                  <a:pt x="6440932" y="5777450"/>
                  <a:pt x="6434472" y="5790312"/>
                  <a:pt x="6434433" y="5801408"/>
                </a:cubicBezTo>
                <a:cubicBezTo>
                  <a:pt x="6434377" y="5804315"/>
                  <a:pt x="6435422" y="5807136"/>
                  <a:pt x="6437362" y="5809303"/>
                </a:cubicBezTo>
                <a:cubicBezTo>
                  <a:pt x="6439977" y="5811902"/>
                  <a:pt x="6443576" y="5813263"/>
                  <a:pt x="6447256" y="5813047"/>
                </a:cubicBezTo>
                <a:cubicBezTo>
                  <a:pt x="6455015" y="5813047"/>
                  <a:pt x="6463570" y="5810079"/>
                  <a:pt x="6473541" y="5806898"/>
                </a:cubicBezTo>
                <a:cubicBezTo>
                  <a:pt x="6487121" y="5802455"/>
                  <a:pt x="6502640" y="5797373"/>
                  <a:pt x="6519847" y="5797373"/>
                </a:cubicBezTo>
                <a:cubicBezTo>
                  <a:pt x="6534823" y="5797373"/>
                  <a:pt x="6551001" y="5801253"/>
                  <a:pt x="6568247" y="5812756"/>
                </a:cubicBezTo>
                <a:cubicBezTo>
                  <a:pt x="6556802" y="5813493"/>
                  <a:pt x="6547413" y="5816849"/>
                  <a:pt x="6541535" y="5821486"/>
                </a:cubicBezTo>
                <a:cubicBezTo>
                  <a:pt x="6535172" y="5826394"/>
                  <a:pt x="6533601" y="5831980"/>
                  <a:pt x="6533639" y="5835841"/>
                </a:cubicBezTo>
                <a:cubicBezTo>
                  <a:pt x="6533639" y="5842184"/>
                  <a:pt x="6538140" y="5846976"/>
                  <a:pt x="6543669" y="5853300"/>
                </a:cubicBezTo>
                <a:cubicBezTo>
                  <a:pt x="6552476" y="5863310"/>
                  <a:pt x="6564115" y="5876462"/>
                  <a:pt x="6564212" y="5897607"/>
                </a:cubicBezTo>
                <a:cubicBezTo>
                  <a:pt x="6563822" y="5913514"/>
                  <a:pt x="6558703" y="5928946"/>
                  <a:pt x="6549508" y="5941934"/>
                </a:cubicBezTo>
                <a:cubicBezTo>
                  <a:pt x="6549508" y="5941041"/>
                  <a:pt x="6549508" y="5940130"/>
                  <a:pt x="6549508" y="5939199"/>
                </a:cubicBezTo>
                <a:cubicBezTo>
                  <a:pt x="6549508" y="5928471"/>
                  <a:pt x="6547122" y="5916347"/>
                  <a:pt x="6541244" y="5909479"/>
                </a:cubicBezTo>
                <a:cubicBezTo>
                  <a:pt x="6537862" y="5905487"/>
                  <a:pt x="6532894" y="5903188"/>
                  <a:pt x="6527664" y="5903194"/>
                </a:cubicBezTo>
                <a:cubicBezTo>
                  <a:pt x="6518605" y="5903194"/>
                  <a:pt x="6510787" y="5910178"/>
                  <a:pt x="6499148" y="5919761"/>
                </a:cubicBezTo>
                <a:cubicBezTo>
                  <a:pt x="6489210" y="5928337"/>
                  <a:pt x="6478705" y="5936231"/>
                  <a:pt x="6467702" y="5943389"/>
                </a:cubicBezTo>
                <a:cubicBezTo>
                  <a:pt x="6413191" y="5977725"/>
                  <a:pt x="6383976" y="5991052"/>
                  <a:pt x="6363239" y="5992740"/>
                </a:cubicBezTo>
                <a:cubicBezTo>
                  <a:pt x="6355615" y="5993360"/>
                  <a:pt x="6344131" y="5993225"/>
                  <a:pt x="6353500" y="5983855"/>
                </a:cubicBezTo>
                <a:cubicBezTo>
                  <a:pt x="6363084" y="5974272"/>
                  <a:pt x="6382890" y="5960712"/>
                  <a:pt x="6397672" y="5951342"/>
                </a:cubicBezTo>
                <a:cubicBezTo>
                  <a:pt x="6412163" y="5942031"/>
                  <a:pt x="6425180" y="5933728"/>
                  <a:pt x="6434705" y="5925387"/>
                </a:cubicBezTo>
                <a:cubicBezTo>
                  <a:pt x="6444229" y="5917045"/>
                  <a:pt x="6450398" y="5908568"/>
                  <a:pt x="6450437" y="5898752"/>
                </a:cubicBezTo>
                <a:cubicBezTo>
                  <a:pt x="6450458" y="5891077"/>
                  <a:pt x="6447380" y="5883718"/>
                  <a:pt x="6441902" y="5878344"/>
                </a:cubicBezTo>
                <a:cubicBezTo>
                  <a:pt x="6431795" y="5868412"/>
                  <a:pt x="6413909" y="5863756"/>
                  <a:pt x="6391600" y="5861273"/>
                </a:cubicBezTo>
                <a:cubicBezTo>
                  <a:pt x="6369291" y="5858790"/>
                  <a:pt x="6342443" y="5858732"/>
                  <a:pt x="6314625" y="5858732"/>
                </a:cubicBezTo>
                <a:lnTo>
                  <a:pt x="6307001" y="5858732"/>
                </a:lnTo>
                <a:cubicBezTo>
                  <a:pt x="6284091" y="5858732"/>
                  <a:pt x="6265817" y="5858402"/>
                  <a:pt x="6251248" y="5857820"/>
                </a:cubicBezTo>
                <a:cubicBezTo>
                  <a:pt x="6271482" y="5849944"/>
                  <a:pt x="6294916" y="5837451"/>
                  <a:pt x="6320445" y="5823814"/>
                </a:cubicBezTo>
                <a:cubicBezTo>
                  <a:pt x="6361842" y="5801660"/>
                  <a:pt x="6407740" y="5777081"/>
                  <a:pt x="6450922" y="5766140"/>
                </a:cubicBezTo>
                <a:close/>
                <a:moveTo>
                  <a:pt x="6472145" y="5707187"/>
                </a:moveTo>
                <a:cubicBezTo>
                  <a:pt x="6526016" y="5707187"/>
                  <a:pt x="6569857" y="5720514"/>
                  <a:pt x="6598994" y="5745384"/>
                </a:cubicBezTo>
                <a:cubicBezTo>
                  <a:pt x="6624186" y="5766780"/>
                  <a:pt x="6638530" y="5798291"/>
                  <a:pt x="6638122" y="5831340"/>
                </a:cubicBezTo>
                <a:cubicBezTo>
                  <a:pt x="6638122" y="5883446"/>
                  <a:pt x="6613582" y="5919373"/>
                  <a:pt x="6598645" y="5941100"/>
                </a:cubicBezTo>
                <a:cubicBezTo>
                  <a:pt x="6591021" y="5952099"/>
                  <a:pt x="6586482" y="5958559"/>
                  <a:pt x="6586405" y="5965911"/>
                </a:cubicBezTo>
                <a:cubicBezTo>
                  <a:pt x="6586405" y="5971731"/>
                  <a:pt x="6589198" y="5976639"/>
                  <a:pt x="6593718" y="5981275"/>
                </a:cubicBezTo>
                <a:cubicBezTo>
                  <a:pt x="6599598" y="5986804"/>
                  <a:pt x="6605881" y="5991888"/>
                  <a:pt x="6612516" y="5996484"/>
                </a:cubicBezTo>
                <a:cubicBezTo>
                  <a:pt x="6643554" y="6019472"/>
                  <a:pt x="6694534" y="6056970"/>
                  <a:pt x="6694554" y="6134430"/>
                </a:cubicBezTo>
                <a:cubicBezTo>
                  <a:pt x="6694554" y="6222443"/>
                  <a:pt x="6647996" y="6275926"/>
                  <a:pt x="6608888" y="6305470"/>
                </a:cubicBezTo>
                <a:cubicBezTo>
                  <a:pt x="6560623" y="6341863"/>
                  <a:pt x="6496374" y="6362775"/>
                  <a:pt x="6432823" y="6362756"/>
                </a:cubicBezTo>
                <a:cubicBezTo>
                  <a:pt x="6274081" y="6362697"/>
                  <a:pt x="6192023" y="6274452"/>
                  <a:pt x="6192023" y="6187932"/>
                </a:cubicBezTo>
                <a:cubicBezTo>
                  <a:pt x="6192129" y="6161567"/>
                  <a:pt x="6201776" y="6136133"/>
                  <a:pt x="6219182" y="6116331"/>
                </a:cubicBezTo>
                <a:cubicBezTo>
                  <a:pt x="6236641" y="6096602"/>
                  <a:pt x="6262092" y="6083352"/>
                  <a:pt x="6293965" y="6083352"/>
                </a:cubicBezTo>
                <a:cubicBezTo>
                  <a:pt x="6311773" y="6083352"/>
                  <a:pt x="6334257" y="6087523"/>
                  <a:pt x="6352162" y="6099453"/>
                </a:cubicBezTo>
                <a:cubicBezTo>
                  <a:pt x="6370067" y="6111384"/>
                  <a:pt x="6383375" y="6130919"/>
                  <a:pt x="6383414" y="6162558"/>
                </a:cubicBezTo>
                <a:cubicBezTo>
                  <a:pt x="6383414" y="6163470"/>
                  <a:pt x="6383414" y="6164498"/>
                  <a:pt x="6383414" y="6165313"/>
                </a:cubicBezTo>
                <a:cubicBezTo>
                  <a:pt x="6381623" y="6161272"/>
                  <a:pt x="6379299" y="6157487"/>
                  <a:pt x="6376508" y="6154062"/>
                </a:cubicBezTo>
                <a:cubicBezTo>
                  <a:pt x="6368810" y="6144426"/>
                  <a:pt x="6357063" y="6138925"/>
                  <a:pt x="6344732" y="6139183"/>
                </a:cubicBezTo>
                <a:cubicBezTo>
                  <a:pt x="6327680" y="6139183"/>
                  <a:pt x="6313189" y="6153150"/>
                  <a:pt x="6313151" y="6169891"/>
                </a:cubicBezTo>
                <a:cubicBezTo>
                  <a:pt x="6313251" y="6171926"/>
                  <a:pt x="6312988" y="6173963"/>
                  <a:pt x="6312375" y="6175905"/>
                </a:cubicBezTo>
                <a:cubicBezTo>
                  <a:pt x="6312279" y="6176139"/>
                  <a:pt x="6312155" y="6176361"/>
                  <a:pt x="6312006" y="6176564"/>
                </a:cubicBezTo>
                <a:cubicBezTo>
                  <a:pt x="6307855" y="6176467"/>
                  <a:pt x="6302888" y="6173596"/>
                  <a:pt x="6298970" y="6167932"/>
                </a:cubicBezTo>
                <a:cubicBezTo>
                  <a:pt x="6294169" y="6160453"/>
                  <a:pt x="6291760" y="6151691"/>
                  <a:pt x="6292064" y="6142810"/>
                </a:cubicBezTo>
                <a:cubicBezTo>
                  <a:pt x="6292061" y="6140548"/>
                  <a:pt x="6292184" y="6138288"/>
                  <a:pt x="6292432" y="6136040"/>
                </a:cubicBezTo>
                <a:lnTo>
                  <a:pt x="6292956" y="6130977"/>
                </a:lnTo>
                <a:lnTo>
                  <a:pt x="6289542" y="6134857"/>
                </a:lnTo>
                <a:cubicBezTo>
                  <a:pt x="6273480" y="6152723"/>
                  <a:pt x="6267699" y="6168863"/>
                  <a:pt x="6267699" y="6182772"/>
                </a:cubicBezTo>
                <a:cubicBezTo>
                  <a:pt x="6267699" y="6205546"/>
                  <a:pt x="6283063" y="6221764"/>
                  <a:pt x="6292122" y="6230261"/>
                </a:cubicBezTo>
                <a:cubicBezTo>
                  <a:pt x="6293810" y="6231774"/>
                  <a:pt x="6295847" y="6233675"/>
                  <a:pt x="6297437" y="6235363"/>
                </a:cubicBezTo>
                <a:cubicBezTo>
                  <a:pt x="6298130" y="6236059"/>
                  <a:pt x="6298777" y="6236796"/>
                  <a:pt x="6299377" y="6237574"/>
                </a:cubicBezTo>
                <a:cubicBezTo>
                  <a:pt x="6299570" y="6237820"/>
                  <a:pt x="6299745" y="6238080"/>
                  <a:pt x="6299901" y="6238350"/>
                </a:cubicBezTo>
                <a:lnTo>
                  <a:pt x="6299901" y="6238505"/>
                </a:lnTo>
                <a:cubicBezTo>
                  <a:pt x="6299765" y="6239320"/>
                  <a:pt x="6298097" y="6241512"/>
                  <a:pt x="6293849" y="6243200"/>
                </a:cubicBezTo>
                <a:cubicBezTo>
                  <a:pt x="6289290" y="6245140"/>
                  <a:pt x="6281996" y="6246614"/>
                  <a:pt x="6271579" y="6246614"/>
                </a:cubicBezTo>
                <a:cubicBezTo>
                  <a:pt x="6267951" y="6246614"/>
                  <a:pt x="6263955" y="6246439"/>
                  <a:pt x="6259551" y="6246032"/>
                </a:cubicBezTo>
                <a:lnTo>
                  <a:pt x="6255671" y="6245663"/>
                </a:lnTo>
                <a:lnTo>
                  <a:pt x="6258232" y="6248748"/>
                </a:lnTo>
                <a:cubicBezTo>
                  <a:pt x="6288630" y="6284985"/>
                  <a:pt x="6322249" y="6294898"/>
                  <a:pt x="6351347" y="6294879"/>
                </a:cubicBezTo>
                <a:cubicBezTo>
                  <a:pt x="6372841" y="6294879"/>
                  <a:pt x="6391910" y="6289525"/>
                  <a:pt x="6405664" y="6285684"/>
                </a:cubicBezTo>
                <a:cubicBezTo>
                  <a:pt x="6411484" y="6284035"/>
                  <a:pt x="6418021" y="6281571"/>
                  <a:pt x="6421630" y="6281629"/>
                </a:cubicBezTo>
                <a:cubicBezTo>
                  <a:pt x="6423143" y="6281629"/>
                  <a:pt x="6423764" y="6281978"/>
                  <a:pt x="6424035" y="6282405"/>
                </a:cubicBezTo>
                <a:cubicBezTo>
                  <a:pt x="6424526" y="6283235"/>
                  <a:pt x="6424749" y="6284198"/>
                  <a:pt x="6424675" y="6285160"/>
                </a:cubicBezTo>
                <a:cubicBezTo>
                  <a:pt x="6424675" y="6289350"/>
                  <a:pt x="6422212" y="6297013"/>
                  <a:pt x="6418041" y="6304869"/>
                </a:cubicBezTo>
                <a:cubicBezTo>
                  <a:pt x="6413831" y="6313036"/>
                  <a:pt x="6408299" y="6320450"/>
                  <a:pt x="6401668" y="6326809"/>
                </a:cubicBezTo>
                <a:lnTo>
                  <a:pt x="6397788" y="6330340"/>
                </a:lnTo>
                <a:lnTo>
                  <a:pt x="6402987" y="6329661"/>
                </a:lnTo>
                <a:cubicBezTo>
                  <a:pt x="6491796" y="6318254"/>
                  <a:pt x="6521321" y="6266770"/>
                  <a:pt x="6536045" y="6240232"/>
                </a:cubicBezTo>
                <a:cubicBezTo>
                  <a:pt x="6538086" y="6236263"/>
                  <a:pt x="6540334" y="6232404"/>
                  <a:pt x="6542776" y="6228670"/>
                </a:cubicBezTo>
                <a:cubicBezTo>
                  <a:pt x="6544716" y="6225702"/>
                  <a:pt x="6546753" y="6224247"/>
                  <a:pt x="6547238" y="6224422"/>
                </a:cubicBezTo>
                <a:cubicBezTo>
                  <a:pt x="6548053" y="6224422"/>
                  <a:pt x="6549411" y="6225178"/>
                  <a:pt x="6550866" y="6227370"/>
                </a:cubicBezTo>
                <a:cubicBezTo>
                  <a:pt x="6555250" y="6233830"/>
                  <a:pt x="6558916" y="6250048"/>
                  <a:pt x="6558877" y="6266925"/>
                </a:cubicBezTo>
                <a:cubicBezTo>
                  <a:pt x="6558924" y="6274238"/>
                  <a:pt x="6558191" y="6281534"/>
                  <a:pt x="6556685" y="6288690"/>
                </a:cubicBezTo>
                <a:lnTo>
                  <a:pt x="6555580" y="6293831"/>
                </a:lnTo>
                <a:lnTo>
                  <a:pt x="6559459" y="6290242"/>
                </a:lnTo>
                <a:cubicBezTo>
                  <a:pt x="6592981" y="6259204"/>
                  <a:pt x="6602137" y="6226575"/>
                  <a:pt x="6602137" y="6199416"/>
                </a:cubicBezTo>
                <a:cubicBezTo>
                  <a:pt x="6602137" y="6178582"/>
                  <a:pt x="6596783" y="6160968"/>
                  <a:pt x="6593058" y="6149561"/>
                </a:cubicBezTo>
                <a:cubicBezTo>
                  <a:pt x="6591002" y="6143256"/>
                  <a:pt x="6589295" y="6137592"/>
                  <a:pt x="6589314" y="6134954"/>
                </a:cubicBezTo>
                <a:cubicBezTo>
                  <a:pt x="6589173" y="6133559"/>
                  <a:pt x="6589472" y="6132154"/>
                  <a:pt x="6590168" y="6130938"/>
                </a:cubicBezTo>
                <a:cubicBezTo>
                  <a:pt x="6590849" y="6130207"/>
                  <a:pt x="6591759" y="6129727"/>
                  <a:pt x="6592748" y="6129580"/>
                </a:cubicBezTo>
                <a:cubicBezTo>
                  <a:pt x="6606909" y="6129580"/>
                  <a:pt x="6623786" y="6134682"/>
                  <a:pt x="6643884" y="6144265"/>
                </a:cubicBezTo>
                <a:lnTo>
                  <a:pt x="6647763" y="6146205"/>
                </a:lnTo>
                <a:lnTo>
                  <a:pt x="6646056" y="6142189"/>
                </a:lnTo>
                <a:cubicBezTo>
                  <a:pt x="6618684" y="6078173"/>
                  <a:pt x="6557752" y="6050665"/>
                  <a:pt x="6498391" y="6035689"/>
                </a:cubicBezTo>
                <a:cubicBezTo>
                  <a:pt x="6468672" y="6028162"/>
                  <a:pt x="6439283" y="6023759"/>
                  <a:pt x="6414549" y="6019491"/>
                </a:cubicBezTo>
                <a:lnTo>
                  <a:pt x="6414530" y="6019394"/>
                </a:lnTo>
                <a:cubicBezTo>
                  <a:pt x="6396527" y="6016290"/>
                  <a:pt x="6380950" y="6013206"/>
                  <a:pt x="6369640" y="6009151"/>
                </a:cubicBezTo>
                <a:cubicBezTo>
                  <a:pt x="6367700" y="6008336"/>
                  <a:pt x="6365896" y="6007483"/>
                  <a:pt x="6364073" y="6006649"/>
                </a:cubicBezTo>
                <a:cubicBezTo>
                  <a:pt x="6397982" y="6002381"/>
                  <a:pt x="6438934" y="5978481"/>
                  <a:pt x="6475268" y="5955145"/>
                </a:cubicBezTo>
                <a:cubicBezTo>
                  <a:pt x="6486704" y="5947635"/>
                  <a:pt x="6497635" y="5939387"/>
                  <a:pt x="6507994" y="5930450"/>
                </a:cubicBezTo>
                <a:cubicBezTo>
                  <a:pt x="6512417" y="5926783"/>
                  <a:pt x="6516529" y="5923369"/>
                  <a:pt x="6520021" y="5920944"/>
                </a:cubicBezTo>
                <a:cubicBezTo>
                  <a:pt x="6523513" y="5918519"/>
                  <a:pt x="6526384" y="5917064"/>
                  <a:pt x="6527781" y="5917064"/>
                </a:cubicBezTo>
                <a:cubicBezTo>
                  <a:pt x="6529094" y="5917103"/>
                  <a:pt x="6530322" y="5917720"/>
                  <a:pt x="6531137" y="5918752"/>
                </a:cubicBezTo>
                <a:cubicBezTo>
                  <a:pt x="6534473" y="5922341"/>
                  <a:pt x="6536452" y="5932331"/>
                  <a:pt x="6536394" y="5943137"/>
                </a:cubicBezTo>
                <a:cubicBezTo>
                  <a:pt x="6536400" y="5951773"/>
                  <a:pt x="6535284" y="5960374"/>
                  <a:pt x="6533077" y="5968724"/>
                </a:cubicBezTo>
                <a:lnTo>
                  <a:pt x="6531893" y="5972933"/>
                </a:lnTo>
                <a:lnTo>
                  <a:pt x="6535560" y="5970567"/>
                </a:lnTo>
                <a:cubicBezTo>
                  <a:pt x="6564406" y="5952002"/>
                  <a:pt x="6578238" y="5923893"/>
                  <a:pt x="6578238" y="5897530"/>
                </a:cubicBezTo>
                <a:cubicBezTo>
                  <a:pt x="6578238" y="5871166"/>
                  <a:pt x="6563591" y="5854619"/>
                  <a:pt x="6554144" y="5844047"/>
                </a:cubicBezTo>
                <a:cubicBezTo>
                  <a:pt x="6552689" y="5842417"/>
                  <a:pt x="6551001" y="5840497"/>
                  <a:pt x="6549643" y="5838809"/>
                </a:cubicBezTo>
                <a:cubicBezTo>
                  <a:pt x="6548827" y="5837799"/>
                  <a:pt x="6548088" y="5836729"/>
                  <a:pt x="6547432" y="5835608"/>
                </a:cubicBezTo>
                <a:cubicBezTo>
                  <a:pt x="6547954" y="5834302"/>
                  <a:pt x="6548869" y="5833190"/>
                  <a:pt x="6550051" y="5832427"/>
                </a:cubicBezTo>
                <a:cubicBezTo>
                  <a:pt x="6556103" y="5827887"/>
                  <a:pt x="6566404" y="5825094"/>
                  <a:pt x="6578373" y="5825094"/>
                </a:cubicBezTo>
                <a:cubicBezTo>
                  <a:pt x="6584847" y="5825115"/>
                  <a:pt x="6591295" y="5825870"/>
                  <a:pt x="6597598" y="5827344"/>
                </a:cubicBezTo>
                <a:lnTo>
                  <a:pt x="6602118" y="5828372"/>
                </a:lnTo>
                <a:lnTo>
                  <a:pt x="6599266" y="5824706"/>
                </a:lnTo>
                <a:cubicBezTo>
                  <a:pt x="6574455" y="5792795"/>
                  <a:pt x="6545919" y="5783619"/>
                  <a:pt x="6520487" y="5783658"/>
                </a:cubicBezTo>
                <a:cubicBezTo>
                  <a:pt x="6500467" y="5783658"/>
                  <a:pt x="6482348" y="5789245"/>
                  <a:pt x="6469138" y="5793571"/>
                </a:cubicBezTo>
                <a:cubicBezTo>
                  <a:pt x="6462697" y="5795666"/>
                  <a:pt x="6453774" y="5798440"/>
                  <a:pt x="6449952" y="5798401"/>
                </a:cubicBezTo>
                <a:cubicBezTo>
                  <a:pt x="6449601" y="5798407"/>
                  <a:pt x="6449250" y="5798374"/>
                  <a:pt x="6448905" y="5798304"/>
                </a:cubicBezTo>
                <a:cubicBezTo>
                  <a:pt x="6448905" y="5793668"/>
                  <a:pt x="6452338" y="5785811"/>
                  <a:pt x="6458720" y="5777508"/>
                </a:cubicBezTo>
                <a:cubicBezTo>
                  <a:pt x="6466562" y="5767464"/>
                  <a:pt x="6476214" y="5758977"/>
                  <a:pt x="6487179" y="5752484"/>
                </a:cubicBezTo>
                <a:lnTo>
                  <a:pt x="6491660" y="5749787"/>
                </a:lnTo>
                <a:lnTo>
                  <a:pt x="6486519" y="5749515"/>
                </a:lnTo>
                <a:cubicBezTo>
                  <a:pt x="6484250" y="5749341"/>
                  <a:pt x="6481902" y="5749263"/>
                  <a:pt x="6479555" y="5749263"/>
                </a:cubicBezTo>
                <a:cubicBezTo>
                  <a:pt x="6428322" y="5749302"/>
                  <a:pt x="6362482" y="5786374"/>
                  <a:pt x="6313868" y="5811592"/>
                </a:cubicBezTo>
                <a:cubicBezTo>
                  <a:pt x="6283528" y="5827111"/>
                  <a:pt x="6219880" y="5864105"/>
                  <a:pt x="6200733" y="5852718"/>
                </a:cubicBezTo>
                <a:cubicBezTo>
                  <a:pt x="6197533" y="5850778"/>
                  <a:pt x="6195476" y="5848838"/>
                  <a:pt x="6195476" y="5845696"/>
                </a:cubicBezTo>
                <a:cubicBezTo>
                  <a:pt x="6195476" y="5837257"/>
                  <a:pt x="6203488" y="5823755"/>
                  <a:pt x="6218328" y="5808993"/>
                </a:cubicBezTo>
                <a:cubicBezTo>
                  <a:pt x="6262713" y="5764472"/>
                  <a:pt x="6365586" y="5707129"/>
                  <a:pt x="6472145" y="5707187"/>
                </a:cubicBezTo>
                <a:close/>
                <a:moveTo>
                  <a:pt x="6472145" y="5683559"/>
                </a:moveTo>
                <a:cubicBezTo>
                  <a:pt x="6406072" y="5683559"/>
                  <a:pt x="6331657" y="5705266"/>
                  <a:pt x="6267311" y="5743269"/>
                </a:cubicBezTo>
                <a:cubicBezTo>
                  <a:pt x="6238523" y="5760379"/>
                  <a:pt x="6214798" y="5778808"/>
                  <a:pt x="6198153" y="5796500"/>
                </a:cubicBezTo>
                <a:cubicBezTo>
                  <a:pt x="6181509" y="5814192"/>
                  <a:pt x="6171965" y="5831108"/>
                  <a:pt x="6171926" y="5845676"/>
                </a:cubicBezTo>
                <a:cubicBezTo>
                  <a:pt x="6171887" y="5852703"/>
                  <a:pt x="6174726" y="5859440"/>
                  <a:pt x="6179783" y="5864319"/>
                </a:cubicBezTo>
                <a:cubicBezTo>
                  <a:pt x="6189172" y="5873572"/>
                  <a:pt x="6205816" y="5877898"/>
                  <a:pt x="6227077" y="5880129"/>
                </a:cubicBezTo>
                <a:cubicBezTo>
                  <a:pt x="6248339" y="5882360"/>
                  <a:pt x="6274256" y="5882437"/>
                  <a:pt x="6302151" y="5882437"/>
                </a:cubicBezTo>
                <a:lnTo>
                  <a:pt x="6307137" y="5882437"/>
                </a:lnTo>
                <a:cubicBezTo>
                  <a:pt x="6350144" y="5882437"/>
                  <a:pt x="6380523" y="5883601"/>
                  <a:pt x="6399961" y="5886317"/>
                </a:cubicBezTo>
                <a:cubicBezTo>
                  <a:pt x="6409660" y="5887733"/>
                  <a:pt x="6416644" y="5889595"/>
                  <a:pt x="6420970" y="5891787"/>
                </a:cubicBezTo>
                <a:cubicBezTo>
                  <a:pt x="6425296" y="5893980"/>
                  <a:pt x="6426790" y="5896210"/>
                  <a:pt x="6426790" y="5898655"/>
                </a:cubicBezTo>
                <a:cubicBezTo>
                  <a:pt x="6426790" y="5899663"/>
                  <a:pt x="6425684" y="5901933"/>
                  <a:pt x="6423026" y="5904474"/>
                </a:cubicBezTo>
                <a:cubicBezTo>
                  <a:pt x="6413734" y="5913786"/>
                  <a:pt x="6389350" y="5927598"/>
                  <a:pt x="6367409" y="5942787"/>
                </a:cubicBezTo>
                <a:cubicBezTo>
                  <a:pt x="6356950" y="5949730"/>
                  <a:pt x="6347203" y="5957690"/>
                  <a:pt x="6338311" y="5966551"/>
                </a:cubicBezTo>
                <a:cubicBezTo>
                  <a:pt x="6330551" y="5974699"/>
                  <a:pt x="6325372" y="5983040"/>
                  <a:pt x="6325294" y="5991653"/>
                </a:cubicBezTo>
                <a:lnTo>
                  <a:pt x="6325294" y="5992061"/>
                </a:lnTo>
                <a:cubicBezTo>
                  <a:pt x="6325294" y="6003002"/>
                  <a:pt x="6331114" y="6011770"/>
                  <a:pt x="6339999" y="6018540"/>
                </a:cubicBezTo>
                <a:cubicBezTo>
                  <a:pt x="6366672" y="6039006"/>
                  <a:pt x="6421921" y="6044360"/>
                  <a:pt x="6450825" y="6049579"/>
                </a:cubicBezTo>
                <a:cubicBezTo>
                  <a:pt x="6468653" y="6052818"/>
                  <a:pt x="6478100" y="6059162"/>
                  <a:pt x="6483221" y="6066048"/>
                </a:cubicBezTo>
                <a:cubicBezTo>
                  <a:pt x="6487501" y="6072279"/>
                  <a:pt x="6489627" y="6079738"/>
                  <a:pt x="6489274" y="6087290"/>
                </a:cubicBezTo>
                <a:cubicBezTo>
                  <a:pt x="6489274" y="6112063"/>
                  <a:pt x="6480079" y="6133848"/>
                  <a:pt x="6463570" y="6148882"/>
                </a:cubicBezTo>
                <a:cubicBezTo>
                  <a:pt x="6448924" y="6162461"/>
                  <a:pt x="6431232" y="6171074"/>
                  <a:pt x="6405470" y="6171113"/>
                </a:cubicBezTo>
                <a:lnTo>
                  <a:pt x="6402405" y="6171113"/>
                </a:lnTo>
                <a:cubicBezTo>
                  <a:pt x="6403001" y="6166312"/>
                  <a:pt x="6403305" y="6161480"/>
                  <a:pt x="6403317" y="6156642"/>
                </a:cubicBezTo>
                <a:cubicBezTo>
                  <a:pt x="6403259" y="6127795"/>
                  <a:pt x="6391775" y="6103372"/>
                  <a:pt x="6372317" y="6086495"/>
                </a:cubicBezTo>
                <a:cubicBezTo>
                  <a:pt x="6352918" y="6069618"/>
                  <a:pt x="6325488" y="6060112"/>
                  <a:pt x="6293752" y="6060112"/>
                </a:cubicBezTo>
                <a:cubicBezTo>
                  <a:pt x="6254585" y="6060112"/>
                  <a:pt x="6223159" y="6076369"/>
                  <a:pt x="6201626" y="6100482"/>
                </a:cubicBezTo>
                <a:cubicBezTo>
                  <a:pt x="6180299" y="6124631"/>
                  <a:pt x="6168481" y="6155712"/>
                  <a:pt x="6168376" y="6187932"/>
                </a:cubicBezTo>
                <a:cubicBezTo>
                  <a:pt x="6168376" y="6237399"/>
                  <a:pt x="6191209" y="6287100"/>
                  <a:pt x="6235671" y="6324346"/>
                </a:cubicBezTo>
                <a:cubicBezTo>
                  <a:pt x="6280134" y="6361592"/>
                  <a:pt x="6346245" y="6386422"/>
                  <a:pt x="6432823" y="6386422"/>
                </a:cubicBezTo>
                <a:cubicBezTo>
                  <a:pt x="6501437" y="6386422"/>
                  <a:pt x="6570653" y="6363764"/>
                  <a:pt x="6623030" y="6324346"/>
                </a:cubicBezTo>
                <a:cubicBezTo>
                  <a:pt x="6666425" y="6291658"/>
                  <a:pt x="6718279" y="6232084"/>
                  <a:pt x="6718259" y="6134352"/>
                </a:cubicBezTo>
                <a:cubicBezTo>
                  <a:pt x="6718259" y="6044923"/>
                  <a:pt x="6658239" y="6000732"/>
                  <a:pt x="6626619" y="5977473"/>
                </a:cubicBezTo>
                <a:cubicBezTo>
                  <a:pt x="6621212" y="5973690"/>
                  <a:pt x="6616031" y="5969597"/>
                  <a:pt x="6611099" y="5965213"/>
                </a:cubicBezTo>
                <a:cubicBezTo>
                  <a:pt x="6612729" y="5962380"/>
                  <a:pt x="6615639" y="5958016"/>
                  <a:pt x="6618258" y="5954310"/>
                </a:cubicBezTo>
                <a:cubicBezTo>
                  <a:pt x="6633447" y="5932312"/>
                  <a:pt x="6661905" y="5890682"/>
                  <a:pt x="6661905" y="5831282"/>
                </a:cubicBezTo>
                <a:cubicBezTo>
                  <a:pt x="6662111" y="5793637"/>
                  <a:pt x="6646726" y="5757585"/>
                  <a:pt x="6619402" y="5731688"/>
                </a:cubicBezTo>
                <a:cubicBezTo>
                  <a:pt x="6589334" y="5703307"/>
                  <a:pt x="6541806" y="5683559"/>
                  <a:pt x="6472145" y="5683559"/>
                </a:cubicBezTo>
                <a:close/>
                <a:moveTo>
                  <a:pt x="0" y="0"/>
                </a:moveTo>
                <a:lnTo>
                  <a:pt x="7104063" y="0"/>
                </a:lnTo>
                <a:lnTo>
                  <a:pt x="7104063" y="6857999"/>
                </a:lnTo>
                <a:lnTo>
                  <a:pt x="0" y="6857999"/>
                </a:lnTo>
                <a:close/>
              </a:path>
            </a:pathLst>
          </a:custGeom>
          <a:solidFill>
            <a:schemeClr val="bg1">
              <a:lumMod val="95000"/>
            </a:schemeClr>
          </a:solidFill>
        </p:spPr>
        <p:txBody>
          <a:bodyPr wrap="square">
            <a:noAutofit/>
          </a:bodyPr>
          <a:lstStyle/>
          <a:p>
            <a:r>
              <a:rPr lang="sv-SE"/>
              <a:t>Klicka på ikonen för att lägga till en bild</a:t>
            </a: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p>
            <a:fld id="{195B6749-CA50-4C57-B6DF-EAD345BCAEC2}"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8" name="Text Placeholder 7">
            <a:extLst>
              <a:ext uri="{FF2B5EF4-FFF2-40B4-BE49-F238E27FC236}">
                <a16:creationId xmlns:a16="http://schemas.microsoft.com/office/drawing/2014/main" id="{FA8956B7-435A-4090-936C-1264B99181CC}"/>
              </a:ext>
            </a:extLst>
          </p:cNvPr>
          <p:cNvSpPr>
            <a:spLocks noGrp="1"/>
          </p:cNvSpPr>
          <p:nvPr>
            <p:ph type="body" sz="quarter" idx="15"/>
          </p:nvPr>
        </p:nvSpPr>
        <p:spPr>
          <a:xfrm>
            <a:off x="803275" y="2205038"/>
            <a:ext cx="3976687" cy="39608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Title 1">
            <a:extLst>
              <a:ext uri="{FF2B5EF4-FFF2-40B4-BE49-F238E27FC236}">
                <a16:creationId xmlns:a16="http://schemas.microsoft.com/office/drawing/2014/main" id="{E4CB715E-3346-4FCB-B426-F962B3185385}"/>
              </a:ext>
            </a:extLst>
          </p:cNvPr>
          <p:cNvSpPr>
            <a:spLocks noGrp="1"/>
          </p:cNvSpPr>
          <p:nvPr>
            <p:ph type="title"/>
          </p:nvPr>
        </p:nvSpPr>
        <p:spPr>
          <a:xfrm>
            <a:off x="803276" y="1088502"/>
            <a:ext cx="3976687" cy="900112"/>
          </a:xfrm>
        </p:spPr>
        <p:txBody>
          <a:bodyPr/>
          <a:lstStyle/>
          <a:p>
            <a:r>
              <a:rPr lang="sv-SE"/>
              <a:t>Klicka här för att ändra mall för rubrikformat</a:t>
            </a:r>
            <a:endParaRPr lang="sv-SE" dirty="0"/>
          </a:p>
        </p:txBody>
      </p:sp>
    </p:spTree>
    <p:extLst>
      <p:ext uri="{BB962C8B-B14F-4D97-AF65-F5344CB8AC3E}">
        <p14:creationId xmlns:p14="http://schemas.microsoft.com/office/powerpoint/2010/main" val="3037788951"/>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mal bild höger">
    <p:spTree>
      <p:nvGrpSpPr>
        <p:cNvPr id="1" name=""/>
        <p:cNvGrpSpPr/>
        <p:nvPr/>
      </p:nvGrpSpPr>
      <p:grpSpPr>
        <a:xfrm>
          <a:off x="0" y="0"/>
          <a:ext cx="0" cy="0"/>
          <a:chOff x="0" y="0"/>
          <a:chExt cx="0" cy="0"/>
        </a:xfrm>
      </p:grpSpPr>
      <p:sp>
        <p:nvSpPr>
          <p:cNvPr id="24" name="Platshållare för bild 23">
            <a:extLst>
              <a:ext uri="{FF2B5EF4-FFF2-40B4-BE49-F238E27FC236}">
                <a16:creationId xmlns:a16="http://schemas.microsoft.com/office/drawing/2014/main" id="{320B698E-BCD8-4BB9-B6B5-B0782D314841}"/>
              </a:ext>
            </a:extLst>
          </p:cNvPr>
          <p:cNvSpPr>
            <a:spLocks noGrp="1"/>
          </p:cNvSpPr>
          <p:nvPr>
            <p:ph type="pic" sz="quarter" idx="16"/>
          </p:nvPr>
        </p:nvSpPr>
        <p:spPr>
          <a:xfrm>
            <a:off x="7104063" y="2"/>
            <a:ext cx="5087937" cy="6857999"/>
          </a:xfrm>
          <a:custGeom>
            <a:avLst/>
            <a:gdLst>
              <a:gd name="connsiteX0" fmla="*/ 4586963 w 5087937"/>
              <a:gd name="connsiteY0" fmla="*/ 6510555 h 6857999"/>
              <a:gd name="connsiteX1" fmla="*/ 4586943 w 5087937"/>
              <a:gd name="connsiteY1" fmla="*/ 6519246 h 6857999"/>
              <a:gd name="connsiteX2" fmla="*/ 4568068 w 5087937"/>
              <a:gd name="connsiteY2" fmla="*/ 6538800 h 6857999"/>
              <a:gd name="connsiteX3" fmla="*/ 4553771 w 5087937"/>
              <a:gd name="connsiteY3" fmla="*/ 6527956 h 6857999"/>
              <a:gd name="connsiteX4" fmla="*/ 4567564 w 5087937"/>
              <a:gd name="connsiteY4" fmla="*/ 6515483 h 6857999"/>
              <a:gd name="connsiteX5" fmla="*/ 4586963 w 5087937"/>
              <a:gd name="connsiteY5" fmla="*/ 6510555 h 6857999"/>
              <a:gd name="connsiteX6" fmla="*/ 4659282 w 5087937"/>
              <a:gd name="connsiteY6" fmla="*/ 6482485 h 6857999"/>
              <a:gd name="connsiteX7" fmla="*/ 4679146 w 5087937"/>
              <a:gd name="connsiteY7" fmla="*/ 6508577 h 6857999"/>
              <a:gd name="connsiteX8" fmla="*/ 4659282 w 5087937"/>
              <a:gd name="connsiteY8" fmla="*/ 6532069 h 6857999"/>
              <a:gd name="connsiteX9" fmla="*/ 4640406 w 5087937"/>
              <a:gd name="connsiteY9" fmla="*/ 6506618 h 6857999"/>
              <a:gd name="connsiteX10" fmla="*/ 4659282 w 5087937"/>
              <a:gd name="connsiteY10" fmla="*/ 6482485 h 6857999"/>
              <a:gd name="connsiteX11" fmla="*/ 4427910 w 5087937"/>
              <a:gd name="connsiteY11" fmla="*/ 6482485 h 6857999"/>
              <a:gd name="connsiteX12" fmla="*/ 4446474 w 5087937"/>
              <a:gd name="connsiteY12" fmla="*/ 6500546 h 6857999"/>
              <a:gd name="connsiteX13" fmla="*/ 4408511 w 5087937"/>
              <a:gd name="connsiteY13" fmla="*/ 6500546 h 6857999"/>
              <a:gd name="connsiteX14" fmla="*/ 4427910 w 5087937"/>
              <a:gd name="connsiteY14" fmla="*/ 6482485 h 6857999"/>
              <a:gd name="connsiteX15" fmla="*/ 4279410 w 5087937"/>
              <a:gd name="connsiteY15" fmla="*/ 6482408 h 6857999"/>
              <a:gd name="connsiteX16" fmla="*/ 4300090 w 5087937"/>
              <a:gd name="connsiteY16" fmla="*/ 6509663 h 6857999"/>
              <a:gd name="connsiteX17" fmla="*/ 4279410 w 5087937"/>
              <a:gd name="connsiteY17" fmla="*/ 6536822 h 6857999"/>
              <a:gd name="connsiteX18" fmla="*/ 4258886 w 5087937"/>
              <a:gd name="connsiteY18" fmla="*/ 6509663 h 6857999"/>
              <a:gd name="connsiteX19" fmla="*/ 4279410 w 5087937"/>
              <a:gd name="connsiteY19" fmla="*/ 6482408 h 6857999"/>
              <a:gd name="connsiteX20" fmla="*/ 4653598 w 5087937"/>
              <a:gd name="connsiteY20" fmla="*/ 6464968 h 6857999"/>
              <a:gd name="connsiteX21" fmla="*/ 4617147 w 5087937"/>
              <a:gd name="connsiteY21" fmla="*/ 6507006 h 6857999"/>
              <a:gd name="connsiteX22" fmla="*/ 4653423 w 5087937"/>
              <a:gd name="connsiteY22" fmla="*/ 6549683 h 6857999"/>
              <a:gd name="connsiteX23" fmla="*/ 4678875 w 5087937"/>
              <a:gd name="connsiteY23" fmla="*/ 6536550 h 6857999"/>
              <a:gd name="connsiteX24" fmla="*/ 4679204 w 5087937"/>
              <a:gd name="connsiteY24" fmla="*/ 6536550 h 6857999"/>
              <a:gd name="connsiteX25" fmla="*/ 4679204 w 5087937"/>
              <a:gd name="connsiteY25" fmla="*/ 6547705 h 6857999"/>
              <a:gd name="connsiteX26" fmla="*/ 4660484 w 5087937"/>
              <a:gd name="connsiteY26" fmla="*/ 6568714 h 6857999"/>
              <a:gd name="connsiteX27" fmla="*/ 4643025 w 5087937"/>
              <a:gd name="connsiteY27" fmla="*/ 6557074 h 6857999"/>
              <a:gd name="connsiteX28" fmla="*/ 4619882 w 5087937"/>
              <a:gd name="connsiteY28" fmla="*/ 6557074 h 6857999"/>
              <a:gd name="connsiteX29" fmla="*/ 4657303 w 5087937"/>
              <a:gd name="connsiteY29" fmla="*/ 6584330 h 6857999"/>
              <a:gd name="connsiteX30" fmla="*/ 4701300 w 5087937"/>
              <a:gd name="connsiteY30" fmla="*/ 6546735 h 6857999"/>
              <a:gd name="connsiteX31" fmla="*/ 4701300 w 5087937"/>
              <a:gd name="connsiteY31" fmla="*/ 6467276 h 6857999"/>
              <a:gd name="connsiteX32" fmla="*/ 4679146 w 5087937"/>
              <a:gd name="connsiteY32" fmla="*/ 6467276 h 6857999"/>
              <a:gd name="connsiteX33" fmla="*/ 4679146 w 5087937"/>
              <a:gd name="connsiteY33" fmla="*/ 6478547 h 6857999"/>
              <a:gd name="connsiteX34" fmla="*/ 4678816 w 5087937"/>
              <a:gd name="connsiteY34" fmla="*/ 6478547 h 6857999"/>
              <a:gd name="connsiteX35" fmla="*/ 4653598 w 5087937"/>
              <a:gd name="connsiteY35" fmla="*/ 6464968 h 6857999"/>
              <a:gd name="connsiteX36" fmla="*/ 4572957 w 5087937"/>
              <a:gd name="connsiteY36" fmla="*/ 6464929 h 6857999"/>
              <a:gd name="connsiteX37" fmla="*/ 4533053 w 5087937"/>
              <a:gd name="connsiteY37" fmla="*/ 6493329 h 6857999"/>
              <a:gd name="connsiteX38" fmla="*/ 4556332 w 5087937"/>
              <a:gd name="connsiteY38" fmla="*/ 6493329 h 6857999"/>
              <a:gd name="connsiteX39" fmla="*/ 4571851 w 5087937"/>
              <a:gd name="connsiteY39" fmla="*/ 6480526 h 6857999"/>
              <a:gd name="connsiteX40" fmla="*/ 4586963 w 5087937"/>
              <a:gd name="connsiteY40" fmla="*/ 6492010 h 6857999"/>
              <a:gd name="connsiteX41" fmla="*/ 4559377 w 5087937"/>
              <a:gd name="connsiteY41" fmla="*/ 6503164 h 6857999"/>
              <a:gd name="connsiteX42" fmla="*/ 4530531 w 5087937"/>
              <a:gd name="connsiteY42" fmla="*/ 6528946 h 6857999"/>
              <a:gd name="connsiteX43" fmla="*/ 4559416 w 5087937"/>
              <a:gd name="connsiteY43" fmla="*/ 6554397 h 6857999"/>
              <a:gd name="connsiteX44" fmla="*/ 4587991 w 5087937"/>
              <a:gd name="connsiteY44" fmla="*/ 6543883 h 6857999"/>
              <a:gd name="connsiteX45" fmla="*/ 4589620 w 5087937"/>
              <a:gd name="connsiteY45" fmla="*/ 6552089 h 6857999"/>
              <a:gd name="connsiteX46" fmla="*/ 4613171 w 5087937"/>
              <a:gd name="connsiteY46" fmla="*/ 6552089 h 6857999"/>
              <a:gd name="connsiteX47" fmla="*/ 4610222 w 5087937"/>
              <a:gd name="connsiteY47" fmla="*/ 6533213 h 6857999"/>
              <a:gd name="connsiteX48" fmla="*/ 4610222 w 5087937"/>
              <a:gd name="connsiteY48" fmla="*/ 6489061 h 6857999"/>
              <a:gd name="connsiteX49" fmla="*/ 4572957 w 5087937"/>
              <a:gd name="connsiteY49" fmla="*/ 6464929 h 6857999"/>
              <a:gd name="connsiteX50" fmla="*/ 4428530 w 5087937"/>
              <a:gd name="connsiteY50" fmla="*/ 6464910 h 6857999"/>
              <a:gd name="connsiteX51" fmla="*/ 4385193 w 5087937"/>
              <a:gd name="connsiteY51" fmla="*/ 6509722 h 6857999"/>
              <a:gd name="connsiteX52" fmla="*/ 4428530 w 5087937"/>
              <a:gd name="connsiteY52" fmla="*/ 6554339 h 6857999"/>
              <a:gd name="connsiteX53" fmla="*/ 4468259 w 5087937"/>
              <a:gd name="connsiteY53" fmla="*/ 6525784 h 6857999"/>
              <a:gd name="connsiteX54" fmla="*/ 4447735 w 5087937"/>
              <a:gd name="connsiteY54" fmla="*/ 6525784 h 6857999"/>
              <a:gd name="connsiteX55" fmla="*/ 4429364 w 5087937"/>
              <a:gd name="connsiteY55" fmla="*/ 6536783 h 6857999"/>
              <a:gd name="connsiteX56" fmla="*/ 4408511 w 5087937"/>
              <a:gd name="connsiteY56" fmla="*/ 6515270 h 6857999"/>
              <a:gd name="connsiteX57" fmla="*/ 4469734 w 5087937"/>
              <a:gd name="connsiteY57" fmla="*/ 6515270 h 6857999"/>
              <a:gd name="connsiteX58" fmla="*/ 4428530 w 5087937"/>
              <a:gd name="connsiteY58" fmla="*/ 6464910 h 6857999"/>
              <a:gd name="connsiteX59" fmla="*/ 4380227 w 5087937"/>
              <a:gd name="connsiteY59" fmla="*/ 6464910 h 6857999"/>
              <a:gd name="connsiteX60" fmla="*/ 4353069 w 5087937"/>
              <a:gd name="connsiteY60" fmla="*/ 6482970 h 6857999"/>
              <a:gd name="connsiteX61" fmla="*/ 4352739 w 5087937"/>
              <a:gd name="connsiteY61" fmla="*/ 6482970 h 6857999"/>
              <a:gd name="connsiteX62" fmla="*/ 4352739 w 5087937"/>
              <a:gd name="connsiteY62" fmla="*/ 6467277 h 6857999"/>
              <a:gd name="connsiteX63" fmla="*/ 4330721 w 5087937"/>
              <a:gd name="connsiteY63" fmla="*/ 6467277 h 6857999"/>
              <a:gd name="connsiteX64" fmla="*/ 4330721 w 5087937"/>
              <a:gd name="connsiteY64" fmla="*/ 6552147 h 6857999"/>
              <a:gd name="connsiteX65" fmla="*/ 4354000 w 5087937"/>
              <a:gd name="connsiteY65" fmla="*/ 6552147 h 6857999"/>
              <a:gd name="connsiteX66" fmla="*/ 4354000 w 5087937"/>
              <a:gd name="connsiteY66" fmla="*/ 6513834 h 6857999"/>
              <a:gd name="connsiteX67" fmla="*/ 4376988 w 5087937"/>
              <a:gd name="connsiteY67" fmla="*/ 6486676 h 6857999"/>
              <a:gd name="connsiteX68" fmla="*/ 4385368 w 5087937"/>
              <a:gd name="connsiteY68" fmla="*/ 6487490 h 6857999"/>
              <a:gd name="connsiteX69" fmla="*/ 4385329 w 5087937"/>
              <a:gd name="connsiteY69" fmla="*/ 6465744 h 6857999"/>
              <a:gd name="connsiteX70" fmla="*/ 4380227 w 5087937"/>
              <a:gd name="connsiteY70" fmla="*/ 6464910 h 6857999"/>
              <a:gd name="connsiteX71" fmla="*/ 4279410 w 5087937"/>
              <a:gd name="connsiteY71" fmla="*/ 6464910 h 6857999"/>
              <a:gd name="connsiteX72" fmla="*/ 4235588 w 5087937"/>
              <a:gd name="connsiteY72" fmla="*/ 6509722 h 6857999"/>
              <a:gd name="connsiteX73" fmla="*/ 4279410 w 5087937"/>
              <a:gd name="connsiteY73" fmla="*/ 6554339 h 6857999"/>
              <a:gd name="connsiteX74" fmla="*/ 4323407 w 5087937"/>
              <a:gd name="connsiteY74" fmla="*/ 6509722 h 6857999"/>
              <a:gd name="connsiteX75" fmla="*/ 4279410 w 5087937"/>
              <a:gd name="connsiteY75" fmla="*/ 6464910 h 6857999"/>
              <a:gd name="connsiteX76" fmla="*/ 4484981 w 5087937"/>
              <a:gd name="connsiteY76" fmla="*/ 6441767 h 6857999"/>
              <a:gd name="connsiteX77" fmla="*/ 4484981 w 5087937"/>
              <a:gd name="connsiteY77" fmla="*/ 6467277 h 6857999"/>
              <a:gd name="connsiteX78" fmla="*/ 4470859 w 5087937"/>
              <a:gd name="connsiteY78" fmla="*/ 6467277 h 6857999"/>
              <a:gd name="connsiteX79" fmla="*/ 4470859 w 5087937"/>
              <a:gd name="connsiteY79" fmla="*/ 6482796 h 6857999"/>
              <a:gd name="connsiteX80" fmla="*/ 4484981 w 5087937"/>
              <a:gd name="connsiteY80" fmla="*/ 6482796 h 6857999"/>
              <a:gd name="connsiteX81" fmla="*/ 4484981 w 5087937"/>
              <a:gd name="connsiteY81" fmla="*/ 6532865 h 6857999"/>
              <a:gd name="connsiteX82" fmla="*/ 4511733 w 5087937"/>
              <a:gd name="connsiteY82" fmla="*/ 6553059 h 6857999"/>
              <a:gd name="connsiteX83" fmla="*/ 4525312 w 5087937"/>
              <a:gd name="connsiteY83" fmla="*/ 6552244 h 6857999"/>
              <a:gd name="connsiteX84" fmla="*/ 4525312 w 5087937"/>
              <a:gd name="connsiteY84" fmla="*/ 6534009 h 6857999"/>
              <a:gd name="connsiteX85" fmla="*/ 4518095 w 5087937"/>
              <a:gd name="connsiteY85" fmla="*/ 6534669 h 6857999"/>
              <a:gd name="connsiteX86" fmla="*/ 4508241 w 5087937"/>
              <a:gd name="connsiteY86" fmla="*/ 6524814 h 6857999"/>
              <a:gd name="connsiteX87" fmla="*/ 4508241 w 5087937"/>
              <a:gd name="connsiteY87" fmla="*/ 6482796 h 6857999"/>
              <a:gd name="connsiteX88" fmla="*/ 4525312 w 5087937"/>
              <a:gd name="connsiteY88" fmla="*/ 6482796 h 6857999"/>
              <a:gd name="connsiteX89" fmla="*/ 4525312 w 5087937"/>
              <a:gd name="connsiteY89" fmla="*/ 6467277 h 6857999"/>
              <a:gd name="connsiteX90" fmla="*/ 4508241 w 5087937"/>
              <a:gd name="connsiteY90" fmla="*/ 6467277 h 6857999"/>
              <a:gd name="connsiteX91" fmla="*/ 4508260 w 5087937"/>
              <a:gd name="connsiteY91" fmla="*/ 6441767 h 6857999"/>
              <a:gd name="connsiteX92" fmla="*/ 4285327 w 5087937"/>
              <a:gd name="connsiteY92" fmla="*/ 6434880 h 6857999"/>
              <a:gd name="connsiteX93" fmla="*/ 4285327 w 5087937"/>
              <a:gd name="connsiteY93" fmla="*/ 6454085 h 6857999"/>
              <a:gd name="connsiteX94" fmla="*/ 4307481 w 5087937"/>
              <a:gd name="connsiteY94" fmla="*/ 6454085 h 6857999"/>
              <a:gd name="connsiteX95" fmla="*/ 4307481 w 5087937"/>
              <a:gd name="connsiteY95" fmla="*/ 6434880 h 6857999"/>
              <a:gd name="connsiteX96" fmla="*/ 4251515 w 5087937"/>
              <a:gd name="connsiteY96" fmla="*/ 6434880 h 6857999"/>
              <a:gd name="connsiteX97" fmla="*/ 4251515 w 5087937"/>
              <a:gd name="connsiteY97" fmla="*/ 6454085 h 6857999"/>
              <a:gd name="connsiteX98" fmla="*/ 4273669 w 5087937"/>
              <a:gd name="connsiteY98" fmla="*/ 6454085 h 6857999"/>
              <a:gd name="connsiteX99" fmla="*/ 4273669 w 5087937"/>
              <a:gd name="connsiteY99" fmla="*/ 6434880 h 6857999"/>
              <a:gd name="connsiteX100" fmla="*/ 4153085 w 5087937"/>
              <a:gd name="connsiteY100" fmla="*/ 6434880 h 6857999"/>
              <a:gd name="connsiteX101" fmla="*/ 4153085 w 5087937"/>
              <a:gd name="connsiteY101" fmla="*/ 6552089 h 6857999"/>
              <a:gd name="connsiteX102" fmla="*/ 4178866 w 5087937"/>
              <a:gd name="connsiteY102" fmla="*/ 6552089 h 6857999"/>
              <a:gd name="connsiteX103" fmla="*/ 4178866 w 5087937"/>
              <a:gd name="connsiteY103" fmla="*/ 6503669 h 6857999"/>
              <a:gd name="connsiteX104" fmla="*/ 4227946 w 5087937"/>
              <a:gd name="connsiteY104" fmla="*/ 6503669 h 6857999"/>
              <a:gd name="connsiteX105" fmla="*/ 4227946 w 5087937"/>
              <a:gd name="connsiteY105" fmla="*/ 6483649 h 6857999"/>
              <a:gd name="connsiteX106" fmla="*/ 4178866 w 5087937"/>
              <a:gd name="connsiteY106" fmla="*/ 6483649 h 6857999"/>
              <a:gd name="connsiteX107" fmla="*/ 4178866 w 5087937"/>
              <a:gd name="connsiteY107" fmla="*/ 6456549 h 6857999"/>
              <a:gd name="connsiteX108" fmla="*/ 4235511 w 5087937"/>
              <a:gd name="connsiteY108" fmla="*/ 6456549 h 6857999"/>
              <a:gd name="connsiteX109" fmla="*/ 4235511 w 5087937"/>
              <a:gd name="connsiteY109" fmla="*/ 6434880 h 6857999"/>
              <a:gd name="connsiteX110" fmla="*/ 4483429 w 5087937"/>
              <a:gd name="connsiteY110" fmla="*/ 6050762 h 6857999"/>
              <a:gd name="connsiteX111" fmla="*/ 4603102 w 5087937"/>
              <a:gd name="connsiteY111" fmla="*/ 6120598 h 6857999"/>
              <a:gd name="connsiteX112" fmla="*/ 4574546 w 5087937"/>
              <a:gd name="connsiteY112" fmla="*/ 6115710 h 6857999"/>
              <a:gd name="connsiteX113" fmla="*/ 4559202 w 5087937"/>
              <a:gd name="connsiteY113" fmla="*/ 6134895 h 6857999"/>
              <a:gd name="connsiteX114" fmla="*/ 4563644 w 5087937"/>
              <a:gd name="connsiteY114" fmla="*/ 6153829 h 6857999"/>
              <a:gd name="connsiteX115" fmla="*/ 4572374 w 5087937"/>
              <a:gd name="connsiteY115" fmla="*/ 6198757 h 6857999"/>
              <a:gd name="connsiteX116" fmla="*/ 4555109 w 5087937"/>
              <a:gd name="connsiteY116" fmla="*/ 6255945 h 6857999"/>
              <a:gd name="connsiteX117" fmla="*/ 4544090 w 5087937"/>
              <a:gd name="connsiteY117" fmla="*/ 6217535 h 6857999"/>
              <a:gd name="connsiteX118" fmla="*/ 4531015 w 5087937"/>
              <a:gd name="connsiteY118" fmla="*/ 6210396 h 6857999"/>
              <a:gd name="connsiteX119" fmla="*/ 4517766 w 5087937"/>
              <a:gd name="connsiteY119" fmla="*/ 6217244 h 6857999"/>
              <a:gd name="connsiteX120" fmla="*/ 4507659 w 5087937"/>
              <a:gd name="connsiteY120" fmla="*/ 6233326 h 6857999"/>
              <a:gd name="connsiteX121" fmla="*/ 4413263 w 5087937"/>
              <a:gd name="connsiteY121" fmla="*/ 6310553 h 6857999"/>
              <a:gd name="connsiteX122" fmla="*/ 4421799 w 5087937"/>
              <a:gd name="connsiteY122" fmla="*/ 6283045 h 6857999"/>
              <a:gd name="connsiteX123" fmla="*/ 4420324 w 5087937"/>
              <a:gd name="connsiteY123" fmla="*/ 6274646 h 6857999"/>
              <a:gd name="connsiteX124" fmla="*/ 4409616 w 5087937"/>
              <a:gd name="connsiteY124" fmla="*/ 6267080 h 6857999"/>
              <a:gd name="connsiteX125" fmla="*/ 4409461 w 5087937"/>
              <a:gd name="connsiteY125" fmla="*/ 6267080 h 6857999"/>
              <a:gd name="connsiteX126" fmla="*/ 4385658 w 5087937"/>
              <a:gd name="connsiteY126" fmla="*/ 6272104 h 6857999"/>
              <a:gd name="connsiteX127" fmla="*/ 4335027 w 5087937"/>
              <a:gd name="connsiteY127" fmla="*/ 6281047 h 6857999"/>
              <a:gd name="connsiteX128" fmla="*/ 4271651 w 5087937"/>
              <a:gd name="connsiteY128" fmla="*/ 6259126 h 6857999"/>
              <a:gd name="connsiteX129" fmla="*/ 4291050 w 5087937"/>
              <a:gd name="connsiteY129" fmla="*/ 6251037 h 6857999"/>
              <a:gd name="connsiteX130" fmla="*/ 4297684 w 5087937"/>
              <a:gd name="connsiteY130" fmla="*/ 6238234 h 6857999"/>
              <a:gd name="connsiteX131" fmla="*/ 4285385 w 5087937"/>
              <a:gd name="connsiteY131" fmla="*/ 6220037 h 6857999"/>
              <a:gd name="connsiteX132" fmla="*/ 4264609 w 5087937"/>
              <a:gd name="connsiteY132" fmla="*/ 6182888 h 6857999"/>
              <a:gd name="connsiteX133" fmla="*/ 4267810 w 5087937"/>
              <a:gd name="connsiteY133" fmla="*/ 6165429 h 6857999"/>
              <a:gd name="connsiteX134" fmla="*/ 4276539 w 5087937"/>
              <a:gd name="connsiteY134" fmla="*/ 6180405 h 6857999"/>
              <a:gd name="connsiteX135" fmla="*/ 4295938 w 5087937"/>
              <a:gd name="connsiteY135" fmla="*/ 6190493 h 6857999"/>
              <a:gd name="connsiteX136" fmla="*/ 4309071 w 5087937"/>
              <a:gd name="connsiteY136" fmla="*/ 6182869 h 6857999"/>
              <a:gd name="connsiteX137" fmla="*/ 4310856 w 5087937"/>
              <a:gd name="connsiteY137" fmla="*/ 6169852 h 6857999"/>
              <a:gd name="connsiteX138" fmla="*/ 4316133 w 5087937"/>
              <a:gd name="connsiteY138" fmla="*/ 6158213 h 6857999"/>
              <a:gd name="connsiteX139" fmla="*/ 4328529 w 5087937"/>
              <a:gd name="connsiteY139" fmla="*/ 6153014 h 6857999"/>
              <a:gd name="connsiteX140" fmla="*/ 4352370 w 5087937"/>
              <a:gd name="connsiteY140" fmla="*/ 6167486 h 6857999"/>
              <a:gd name="connsiteX141" fmla="*/ 4360711 w 5087937"/>
              <a:gd name="connsiteY141" fmla="*/ 6198524 h 6857999"/>
              <a:gd name="connsiteX142" fmla="*/ 4357414 w 5087937"/>
              <a:gd name="connsiteY142" fmla="*/ 6216953 h 6857999"/>
              <a:gd name="connsiteX143" fmla="*/ 4355027 w 5087937"/>
              <a:gd name="connsiteY143" fmla="*/ 6222773 h 6857999"/>
              <a:gd name="connsiteX144" fmla="*/ 4359935 w 5087937"/>
              <a:gd name="connsiteY144" fmla="*/ 6218893 h 6857999"/>
              <a:gd name="connsiteX145" fmla="*/ 4379916 w 5087937"/>
              <a:gd name="connsiteY145" fmla="*/ 6193888 h 6857999"/>
              <a:gd name="connsiteX146" fmla="*/ 4387327 w 5087937"/>
              <a:gd name="connsiteY146" fmla="*/ 6194062 h 6857999"/>
              <a:gd name="connsiteX147" fmla="*/ 4387327 w 5087937"/>
              <a:gd name="connsiteY147" fmla="*/ 6193985 h 6857999"/>
              <a:gd name="connsiteX148" fmla="*/ 4463410 w 5087937"/>
              <a:gd name="connsiteY148" fmla="*/ 6166477 h 6857999"/>
              <a:gd name="connsiteX149" fmla="*/ 4496582 w 5087937"/>
              <a:gd name="connsiteY149" fmla="*/ 6087445 h 6857999"/>
              <a:gd name="connsiteX150" fmla="*/ 4483429 w 5087937"/>
              <a:gd name="connsiteY150" fmla="*/ 6050762 h 6857999"/>
              <a:gd name="connsiteX151" fmla="*/ 4434796 w 5087937"/>
              <a:gd name="connsiteY151" fmla="*/ 5766140 h 6857999"/>
              <a:gd name="connsiteX152" fmla="*/ 4418307 w 5087937"/>
              <a:gd name="connsiteY152" fmla="*/ 5801408 h 6857999"/>
              <a:gd name="connsiteX153" fmla="*/ 4421236 w 5087937"/>
              <a:gd name="connsiteY153" fmla="*/ 5809303 h 6857999"/>
              <a:gd name="connsiteX154" fmla="*/ 4431130 w 5087937"/>
              <a:gd name="connsiteY154" fmla="*/ 5813047 h 6857999"/>
              <a:gd name="connsiteX155" fmla="*/ 4457415 w 5087937"/>
              <a:gd name="connsiteY155" fmla="*/ 5806898 h 6857999"/>
              <a:gd name="connsiteX156" fmla="*/ 4503721 w 5087937"/>
              <a:gd name="connsiteY156" fmla="*/ 5797373 h 6857999"/>
              <a:gd name="connsiteX157" fmla="*/ 4552121 w 5087937"/>
              <a:gd name="connsiteY157" fmla="*/ 5812756 h 6857999"/>
              <a:gd name="connsiteX158" fmla="*/ 4525409 w 5087937"/>
              <a:gd name="connsiteY158" fmla="*/ 5821486 h 6857999"/>
              <a:gd name="connsiteX159" fmla="*/ 4517513 w 5087937"/>
              <a:gd name="connsiteY159" fmla="*/ 5835841 h 6857999"/>
              <a:gd name="connsiteX160" fmla="*/ 4527543 w 5087937"/>
              <a:gd name="connsiteY160" fmla="*/ 5853300 h 6857999"/>
              <a:gd name="connsiteX161" fmla="*/ 4548086 w 5087937"/>
              <a:gd name="connsiteY161" fmla="*/ 5897607 h 6857999"/>
              <a:gd name="connsiteX162" fmla="*/ 4533382 w 5087937"/>
              <a:gd name="connsiteY162" fmla="*/ 5941934 h 6857999"/>
              <a:gd name="connsiteX163" fmla="*/ 4533382 w 5087937"/>
              <a:gd name="connsiteY163" fmla="*/ 5939199 h 6857999"/>
              <a:gd name="connsiteX164" fmla="*/ 4525118 w 5087937"/>
              <a:gd name="connsiteY164" fmla="*/ 5909479 h 6857999"/>
              <a:gd name="connsiteX165" fmla="*/ 4511538 w 5087937"/>
              <a:gd name="connsiteY165" fmla="*/ 5903194 h 6857999"/>
              <a:gd name="connsiteX166" fmla="*/ 4483022 w 5087937"/>
              <a:gd name="connsiteY166" fmla="*/ 5919761 h 6857999"/>
              <a:gd name="connsiteX167" fmla="*/ 4451576 w 5087937"/>
              <a:gd name="connsiteY167" fmla="*/ 5943389 h 6857999"/>
              <a:gd name="connsiteX168" fmla="*/ 4347113 w 5087937"/>
              <a:gd name="connsiteY168" fmla="*/ 5992740 h 6857999"/>
              <a:gd name="connsiteX169" fmla="*/ 4337374 w 5087937"/>
              <a:gd name="connsiteY169" fmla="*/ 5983855 h 6857999"/>
              <a:gd name="connsiteX170" fmla="*/ 4381546 w 5087937"/>
              <a:gd name="connsiteY170" fmla="*/ 5951342 h 6857999"/>
              <a:gd name="connsiteX171" fmla="*/ 4418579 w 5087937"/>
              <a:gd name="connsiteY171" fmla="*/ 5925387 h 6857999"/>
              <a:gd name="connsiteX172" fmla="*/ 4434311 w 5087937"/>
              <a:gd name="connsiteY172" fmla="*/ 5898752 h 6857999"/>
              <a:gd name="connsiteX173" fmla="*/ 4425776 w 5087937"/>
              <a:gd name="connsiteY173" fmla="*/ 5878344 h 6857999"/>
              <a:gd name="connsiteX174" fmla="*/ 4375474 w 5087937"/>
              <a:gd name="connsiteY174" fmla="*/ 5861273 h 6857999"/>
              <a:gd name="connsiteX175" fmla="*/ 4298499 w 5087937"/>
              <a:gd name="connsiteY175" fmla="*/ 5858732 h 6857999"/>
              <a:gd name="connsiteX176" fmla="*/ 4290875 w 5087937"/>
              <a:gd name="connsiteY176" fmla="*/ 5858732 h 6857999"/>
              <a:gd name="connsiteX177" fmla="*/ 4235122 w 5087937"/>
              <a:gd name="connsiteY177" fmla="*/ 5857820 h 6857999"/>
              <a:gd name="connsiteX178" fmla="*/ 4304319 w 5087937"/>
              <a:gd name="connsiteY178" fmla="*/ 5823814 h 6857999"/>
              <a:gd name="connsiteX179" fmla="*/ 4434796 w 5087937"/>
              <a:gd name="connsiteY179" fmla="*/ 5766140 h 6857999"/>
              <a:gd name="connsiteX180" fmla="*/ 4456019 w 5087937"/>
              <a:gd name="connsiteY180" fmla="*/ 5707187 h 6857999"/>
              <a:gd name="connsiteX181" fmla="*/ 4582868 w 5087937"/>
              <a:gd name="connsiteY181" fmla="*/ 5745384 h 6857999"/>
              <a:gd name="connsiteX182" fmla="*/ 4621996 w 5087937"/>
              <a:gd name="connsiteY182" fmla="*/ 5831340 h 6857999"/>
              <a:gd name="connsiteX183" fmla="*/ 4582519 w 5087937"/>
              <a:gd name="connsiteY183" fmla="*/ 5941100 h 6857999"/>
              <a:gd name="connsiteX184" fmla="*/ 4570279 w 5087937"/>
              <a:gd name="connsiteY184" fmla="*/ 5965911 h 6857999"/>
              <a:gd name="connsiteX185" fmla="*/ 4577592 w 5087937"/>
              <a:gd name="connsiteY185" fmla="*/ 5981275 h 6857999"/>
              <a:gd name="connsiteX186" fmla="*/ 4596390 w 5087937"/>
              <a:gd name="connsiteY186" fmla="*/ 5996484 h 6857999"/>
              <a:gd name="connsiteX187" fmla="*/ 4678428 w 5087937"/>
              <a:gd name="connsiteY187" fmla="*/ 6134430 h 6857999"/>
              <a:gd name="connsiteX188" fmla="*/ 4592762 w 5087937"/>
              <a:gd name="connsiteY188" fmla="*/ 6305470 h 6857999"/>
              <a:gd name="connsiteX189" fmla="*/ 4416697 w 5087937"/>
              <a:gd name="connsiteY189" fmla="*/ 6362756 h 6857999"/>
              <a:gd name="connsiteX190" fmla="*/ 4175897 w 5087937"/>
              <a:gd name="connsiteY190" fmla="*/ 6187932 h 6857999"/>
              <a:gd name="connsiteX191" fmla="*/ 4203056 w 5087937"/>
              <a:gd name="connsiteY191" fmla="*/ 6116331 h 6857999"/>
              <a:gd name="connsiteX192" fmla="*/ 4277839 w 5087937"/>
              <a:gd name="connsiteY192" fmla="*/ 6083352 h 6857999"/>
              <a:gd name="connsiteX193" fmla="*/ 4336036 w 5087937"/>
              <a:gd name="connsiteY193" fmla="*/ 6099453 h 6857999"/>
              <a:gd name="connsiteX194" fmla="*/ 4367288 w 5087937"/>
              <a:gd name="connsiteY194" fmla="*/ 6162558 h 6857999"/>
              <a:gd name="connsiteX195" fmla="*/ 4367288 w 5087937"/>
              <a:gd name="connsiteY195" fmla="*/ 6165313 h 6857999"/>
              <a:gd name="connsiteX196" fmla="*/ 4360382 w 5087937"/>
              <a:gd name="connsiteY196" fmla="*/ 6154062 h 6857999"/>
              <a:gd name="connsiteX197" fmla="*/ 4328606 w 5087937"/>
              <a:gd name="connsiteY197" fmla="*/ 6139183 h 6857999"/>
              <a:gd name="connsiteX198" fmla="*/ 4297025 w 5087937"/>
              <a:gd name="connsiteY198" fmla="*/ 6169891 h 6857999"/>
              <a:gd name="connsiteX199" fmla="*/ 4296249 w 5087937"/>
              <a:gd name="connsiteY199" fmla="*/ 6175905 h 6857999"/>
              <a:gd name="connsiteX200" fmla="*/ 4295880 w 5087937"/>
              <a:gd name="connsiteY200" fmla="*/ 6176564 h 6857999"/>
              <a:gd name="connsiteX201" fmla="*/ 4282844 w 5087937"/>
              <a:gd name="connsiteY201" fmla="*/ 6167932 h 6857999"/>
              <a:gd name="connsiteX202" fmla="*/ 4275938 w 5087937"/>
              <a:gd name="connsiteY202" fmla="*/ 6142810 h 6857999"/>
              <a:gd name="connsiteX203" fmla="*/ 4276306 w 5087937"/>
              <a:gd name="connsiteY203" fmla="*/ 6136040 h 6857999"/>
              <a:gd name="connsiteX204" fmla="*/ 4276830 w 5087937"/>
              <a:gd name="connsiteY204" fmla="*/ 6130977 h 6857999"/>
              <a:gd name="connsiteX205" fmla="*/ 4273416 w 5087937"/>
              <a:gd name="connsiteY205" fmla="*/ 6134857 h 6857999"/>
              <a:gd name="connsiteX206" fmla="*/ 4251573 w 5087937"/>
              <a:gd name="connsiteY206" fmla="*/ 6182772 h 6857999"/>
              <a:gd name="connsiteX207" fmla="*/ 4275996 w 5087937"/>
              <a:gd name="connsiteY207" fmla="*/ 6230261 h 6857999"/>
              <a:gd name="connsiteX208" fmla="*/ 4281311 w 5087937"/>
              <a:gd name="connsiteY208" fmla="*/ 6235363 h 6857999"/>
              <a:gd name="connsiteX209" fmla="*/ 4283251 w 5087937"/>
              <a:gd name="connsiteY209" fmla="*/ 6237574 h 6857999"/>
              <a:gd name="connsiteX210" fmla="*/ 4283775 w 5087937"/>
              <a:gd name="connsiteY210" fmla="*/ 6238350 h 6857999"/>
              <a:gd name="connsiteX211" fmla="*/ 4283775 w 5087937"/>
              <a:gd name="connsiteY211" fmla="*/ 6238505 h 6857999"/>
              <a:gd name="connsiteX212" fmla="*/ 4277723 w 5087937"/>
              <a:gd name="connsiteY212" fmla="*/ 6243200 h 6857999"/>
              <a:gd name="connsiteX213" fmla="*/ 4255453 w 5087937"/>
              <a:gd name="connsiteY213" fmla="*/ 6246614 h 6857999"/>
              <a:gd name="connsiteX214" fmla="*/ 4243425 w 5087937"/>
              <a:gd name="connsiteY214" fmla="*/ 6246032 h 6857999"/>
              <a:gd name="connsiteX215" fmla="*/ 4239545 w 5087937"/>
              <a:gd name="connsiteY215" fmla="*/ 6245663 h 6857999"/>
              <a:gd name="connsiteX216" fmla="*/ 4242106 w 5087937"/>
              <a:gd name="connsiteY216" fmla="*/ 6248748 h 6857999"/>
              <a:gd name="connsiteX217" fmla="*/ 4335221 w 5087937"/>
              <a:gd name="connsiteY217" fmla="*/ 6294879 h 6857999"/>
              <a:gd name="connsiteX218" fmla="*/ 4389538 w 5087937"/>
              <a:gd name="connsiteY218" fmla="*/ 6285684 h 6857999"/>
              <a:gd name="connsiteX219" fmla="*/ 4405504 w 5087937"/>
              <a:gd name="connsiteY219" fmla="*/ 6281629 h 6857999"/>
              <a:gd name="connsiteX220" fmla="*/ 4407909 w 5087937"/>
              <a:gd name="connsiteY220" fmla="*/ 6282405 h 6857999"/>
              <a:gd name="connsiteX221" fmla="*/ 4408549 w 5087937"/>
              <a:gd name="connsiteY221" fmla="*/ 6285160 h 6857999"/>
              <a:gd name="connsiteX222" fmla="*/ 4401915 w 5087937"/>
              <a:gd name="connsiteY222" fmla="*/ 6304869 h 6857999"/>
              <a:gd name="connsiteX223" fmla="*/ 4385542 w 5087937"/>
              <a:gd name="connsiteY223" fmla="*/ 6326809 h 6857999"/>
              <a:gd name="connsiteX224" fmla="*/ 4381662 w 5087937"/>
              <a:gd name="connsiteY224" fmla="*/ 6330340 h 6857999"/>
              <a:gd name="connsiteX225" fmla="*/ 4386861 w 5087937"/>
              <a:gd name="connsiteY225" fmla="*/ 6329661 h 6857999"/>
              <a:gd name="connsiteX226" fmla="*/ 4519919 w 5087937"/>
              <a:gd name="connsiteY226" fmla="*/ 6240232 h 6857999"/>
              <a:gd name="connsiteX227" fmla="*/ 4526650 w 5087937"/>
              <a:gd name="connsiteY227" fmla="*/ 6228670 h 6857999"/>
              <a:gd name="connsiteX228" fmla="*/ 4531112 w 5087937"/>
              <a:gd name="connsiteY228" fmla="*/ 6224422 h 6857999"/>
              <a:gd name="connsiteX229" fmla="*/ 4534740 w 5087937"/>
              <a:gd name="connsiteY229" fmla="*/ 6227370 h 6857999"/>
              <a:gd name="connsiteX230" fmla="*/ 4542751 w 5087937"/>
              <a:gd name="connsiteY230" fmla="*/ 6266925 h 6857999"/>
              <a:gd name="connsiteX231" fmla="*/ 4540559 w 5087937"/>
              <a:gd name="connsiteY231" fmla="*/ 6288690 h 6857999"/>
              <a:gd name="connsiteX232" fmla="*/ 4539454 w 5087937"/>
              <a:gd name="connsiteY232" fmla="*/ 6293831 h 6857999"/>
              <a:gd name="connsiteX233" fmla="*/ 4543333 w 5087937"/>
              <a:gd name="connsiteY233" fmla="*/ 6290242 h 6857999"/>
              <a:gd name="connsiteX234" fmla="*/ 4586011 w 5087937"/>
              <a:gd name="connsiteY234" fmla="*/ 6199416 h 6857999"/>
              <a:gd name="connsiteX235" fmla="*/ 4576932 w 5087937"/>
              <a:gd name="connsiteY235" fmla="*/ 6149561 h 6857999"/>
              <a:gd name="connsiteX236" fmla="*/ 4573188 w 5087937"/>
              <a:gd name="connsiteY236" fmla="*/ 6134954 h 6857999"/>
              <a:gd name="connsiteX237" fmla="*/ 4574042 w 5087937"/>
              <a:gd name="connsiteY237" fmla="*/ 6130938 h 6857999"/>
              <a:gd name="connsiteX238" fmla="*/ 4576622 w 5087937"/>
              <a:gd name="connsiteY238" fmla="*/ 6129580 h 6857999"/>
              <a:gd name="connsiteX239" fmla="*/ 4627758 w 5087937"/>
              <a:gd name="connsiteY239" fmla="*/ 6144265 h 6857999"/>
              <a:gd name="connsiteX240" fmla="*/ 4631637 w 5087937"/>
              <a:gd name="connsiteY240" fmla="*/ 6146205 h 6857999"/>
              <a:gd name="connsiteX241" fmla="*/ 4629930 w 5087937"/>
              <a:gd name="connsiteY241" fmla="*/ 6142189 h 6857999"/>
              <a:gd name="connsiteX242" fmla="*/ 4482265 w 5087937"/>
              <a:gd name="connsiteY242" fmla="*/ 6035689 h 6857999"/>
              <a:gd name="connsiteX243" fmla="*/ 4398423 w 5087937"/>
              <a:gd name="connsiteY243" fmla="*/ 6019491 h 6857999"/>
              <a:gd name="connsiteX244" fmla="*/ 4398404 w 5087937"/>
              <a:gd name="connsiteY244" fmla="*/ 6019394 h 6857999"/>
              <a:gd name="connsiteX245" fmla="*/ 4353514 w 5087937"/>
              <a:gd name="connsiteY245" fmla="*/ 6009151 h 6857999"/>
              <a:gd name="connsiteX246" fmla="*/ 4347947 w 5087937"/>
              <a:gd name="connsiteY246" fmla="*/ 6006649 h 6857999"/>
              <a:gd name="connsiteX247" fmla="*/ 4459142 w 5087937"/>
              <a:gd name="connsiteY247" fmla="*/ 5955145 h 6857999"/>
              <a:gd name="connsiteX248" fmla="*/ 4491868 w 5087937"/>
              <a:gd name="connsiteY248" fmla="*/ 5930450 h 6857999"/>
              <a:gd name="connsiteX249" fmla="*/ 4503895 w 5087937"/>
              <a:gd name="connsiteY249" fmla="*/ 5920944 h 6857999"/>
              <a:gd name="connsiteX250" fmla="*/ 4511655 w 5087937"/>
              <a:gd name="connsiteY250" fmla="*/ 5917064 h 6857999"/>
              <a:gd name="connsiteX251" fmla="*/ 4515011 w 5087937"/>
              <a:gd name="connsiteY251" fmla="*/ 5918752 h 6857999"/>
              <a:gd name="connsiteX252" fmla="*/ 4520268 w 5087937"/>
              <a:gd name="connsiteY252" fmla="*/ 5943137 h 6857999"/>
              <a:gd name="connsiteX253" fmla="*/ 4516951 w 5087937"/>
              <a:gd name="connsiteY253" fmla="*/ 5968724 h 6857999"/>
              <a:gd name="connsiteX254" fmla="*/ 4515767 w 5087937"/>
              <a:gd name="connsiteY254" fmla="*/ 5972933 h 6857999"/>
              <a:gd name="connsiteX255" fmla="*/ 4519434 w 5087937"/>
              <a:gd name="connsiteY255" fmla="*/ 5970567 h 6857999"/>
              <a:gd name="connsiteX256" fmla="*/ 4562112 w 5087937"/>
              <a:gd name="connsiteY256" fmla="*/ 5897530 h 6857999"/>
              <a:gd name="connsiteX257" fmla="*/ 4538018 w 5087937"/>
              <a:gd name="connsiteY257" fmla="*/ 5844047 h 6857999"/>
              <a:gd name="connsiteX258" fmla="*/ 4533517 w 5087937"/>
              <a:gd name="connsiteY258" fmla="*/ 5838809 h 6857999"/>
              <a:gd name="connsiteX259" fmla="*/ 4531306 w 5087937"/>
              <a:gd name="connsiteY259" fmla="*/ 5835608 h 6857999"/>
              <a:gd name="connsiteX260" fmla="*/ 4533925 w 5087937"/>
              <a:gd name="connsiteY260" fmla="*/ 5832427 h 6857999"/>
              <a:gd name="connsiteX261" fmla="*/ 4562247 w 5087937"/>
              <a:gd name="connsiteY261" fmla="*/ 5825094 h 6857999"/>
              <a:gd name="connsiteX262" fmla="*/ 4581472 w 5087937"/>
              <a:gd name="connsiteY262" fmla="*/ 5827344 h 6857999"/>
              <a:gd name="connsiteX263" fmla="*/ 4585992 w 5087937"/>
              <a:gd name="connsiteY263" fmla="*/ 5828372 h 6857999"/>
              <a:gd name="connsiteX264" fmla="*/ 4583140 w 5087937"/>
              <a:gd name="connsiteY264" fmla="*/ 5824706 h 6857999"/>
              <a:gd name="connsiteX265" fmla="*/ 4504361 w 5087937"/>
              <a:gd name="connsiteY265" fmla="*/ 5783658 h 6857999"/>
              <a:gd name="connsiteX266" fmla="*/ 4453012 w 5087937"/>
              <a:gd name="connsiteY266" fmla="*/ 5793571 h 6857999"/>
              <a:gd name="connsiteX267" fmla="*/ 4433826 w 5087937"/>
              <a:gd name="connsiteY267" fmla="*/ 5798401 h 6857999"/>
              <a:gd name="connsiteX268" fmla="*/ 4432779 w 5087937"/>
              <a:gd name="connsiteY268" fmla="*/ 5798304 h 6857999"/>
              <a:gd name="connsiteX269" fmla="*/ 4442594 w 5087937"/>
              <a:gd name="connsiteY269" fmla="*/ 5777508 h 6857999"/>
              <a:gd name="connsiteX270" fmla="*/ 4471053 w 5087937"/>
              <a:gd name="connsiteY270" fmla="*/ 5752484 h 6857999"/>
              <a:gd name="connsiteX271" fmla="*/ 4475534 w 5087937"/>
              <a:gd name="connsiteY271" fmla="*/ 5749787 h 6857999"/>
              <a:gd name="connsiteX272" fmla="*/ 4470393 w 5087937"/>
              <a:gd name="connsiteY272" fmla="*/ 5749515 h 6857999"/>
              <a:gd name="connsiteX273" fmla="*/ 4463429 w 5087937"/>
              <a:gd name="connsiteY273" fmla="*/ 5749263 h 6857999"/>
              <a:gd name="connsiteX274" fmla="*/ 4297742 w 5087937"/>
              <a:gd name="connsiteY274" fmla="*/ 5811592 h 6857999"/>
              <a:gd name="connsiteX275" fmla="*/ 4184607 w 5087937"/>
              <a:gd name="connsiteY275" fmla="*/ 5852718 h 6857999"/>
              <a:gd name="connsiteX276" fmla="*/ 4179350 w 5087937"/>
              <a:gd name="connsiteY276" fmla="*/ 5845696 h 6857999"/>
              <a:gd name="connsiteX277" fmla="*/ 4202202 w 5087937"/>
              <a:gd name="connsiteY277" fmla="*/ 5808993 h 6857999"/>
              <a:gd name="connsiteX278" fmla="*/ 4456019 w 5087937"/>
              <a:gd name="connsiteY278" fmla="*/ 5707187 h 6857999"/>
              <a:gd name="connsiteX279" fmla="*/ 4456019 w 5087937"/>
              <a:gd name="connsiteY279" fmla="*/ 5683559 h 6857999"/>
              <a:gd name="connsiteX280" fmla="*/ 4251185 w 5087937"/>
              <a:gd name="connsiteY280" fmla="*/ 5743269 h 6857999"/>
              <a:gd name="connsiteX281" fmla="*/ 4182027 w 5087937"/>
              <a:gd name="connsiteY281" fmla="*/ 5796500 h 6857999"/>
              <a:gd name="connsiteX282" fmla="*/ 4155800 w 5087937"/>
              <a:gd name="connsiteY282" fmla="*/ 5845676 h 6857999"/>
              <a:gd name="connsiteX283" fmla="*/ 4163657 w 5087937"/>
              <a:gd name="connsiteY283" fmla="*/ 5864319 h 6857999"/>
              <a:gd name="connsiteX284" fmla="*/ 4210951 w 5087937"/>
              <a:gd name="connsiteY284" fmla="*/ 5880129 h 6857999"/>
              <a:gd name="connsiteX285" fmla="*/ 4286025 w 5087937"/>
              <a:gd name="connsiteY285" fmla="*/ 5882437 h 6857999"/>
              <a:gd name="connsiteX286" fmla="*/ 4291011 w 5087937"/>
              <a:gd name="connsiteY286" fmla="*/ 5882437 h 6857999"/>
              <a:gd name="connsiteX287" fmla="*/ 4383835 w 5087937"/>
              <a:gd name="connsiteY287" fmla="*/ 5886317 h 6857999"/>
              <a:gd name="connsiteX288" fmla="*/ 4404844 w 5087937"/>
              <a:gd name="connsiteY288" fmla="*/ 5891787 h 6857999"/>
              <a:gd name="connsiteX289" fmla="*/ 4410664 w 5087937"/>
              <a:gd name="connsiteY289" fmla="*/ 5898655 h 6857999"/>
              <a:gd name="connsiteX290" fmla="*/ 4406900 w 5087937"/>
              <a:gd name="connsiteY290" fmla="*/ 5904474 h 6857999"/>
              <a:gd name="connsiteX291" fmla="*/ 4351283 w 5087937"/>
              <a:gd name="connsiteY291" fmla="*/ 5942787 h 6857999"/>
              <a:gd name="connsiteX292" fmla="*/ 4322185 w 5087937"/>
              <a:gd name="connsiteY292" fmla="*/ 5966551 h 6857999"/>
              <a:gd name="connsiteX293" fmla="*/ 4309168 w 5087937"/>
              <a:gd name="connsiteY293" fmla="*/ 5991653 h 6857999"/>
              <a:gd name="connsiteX294" fmla="*/ 4309168 w 5087937"/>
              <a:gd name="connsiteY294" fmla="*/ 5992061 h 6857999"/>
              <a:gd name="connsiteX295" fmla="*/ 4323873 w 5087937"/>
              <a:gd name="connsiteY295" fmla="*/ 6018540 h 6857999"/>
              <a:gd name="connsiteX296" fmla="*/ 4434699 w 5087937"/>
              <a:gd name="connsiteY296" fmla="*/ 6049579 h 6857999"/>
              <a:gd name="connsiteX297" fmla="*/ 4467095 w 5087937"/>
              <a:gd name="connsiteY297" fmla="*/ 6066048 h 6857999"/>
              <a:gd name="connsiteX298" fmla="*/ 4473148 w 5087937"/>
              <a:gd name="connsiteY298" fmla="*/ 6087290 h 6857999"/>
              <a:gd name="connsiteX299" fmla="*/ 4447444 w 5087937"/>
              <a:gd name="connsiteY299" fmla="*/ 6148882 h 6857999"/>
              <a:gd name="connsiteX300" fmla="*/ 4389344 w 5087937"/>
              <a:gd name="connsiteY300" fmla="*/ 6171113 h 6857999"/>
              <a:gd name="connsiteX301" fmla="*/ 4386279 w 5087937"/>
              <a:gd name="connsiteY301" fmla="*/ 6171113 h 6857999"/>
              <a:gd name="connsiteX302" fmla="*/ 4387191 w 5087937"/>
              <a:gd name="connsiteY302" fmla="*/ 6156642 h 6857999"/>
              <a:gd name="connsiteX303" fmla="*/ 4356191 w 5087937"/>
              <a:gd name="connsiteY303" fmla="*/ 6086495 h 6857999"/>
              <a:gd name="connsiteX304" fmla="*/ 4277626 w 5087937"/>
              <a:gd name="connsiteY304" fmla="*/ 6060112 h 6857999"/>
              <a:gd name="connsiteX305" fmla="*/ 4185500 w 5087937"/>
              <a:gd name="connsiteY305" fmla="*/ 6100482 h 6857999"/>
              <a:gd name="connsiteX306" fmla="*/ 4152250 w 5087937"/>
              <a:gd name="connsiteY306" fmla="*/ 6187932 h 6857999"/>
              <a:gd name="connsiteX307" fmla="*/ 4219545 w 5087937"/>
              <a:gd name="connsiteY307" fmla="*/ 6324346 h 6857999"/>
              <a:gd name="connsiteX308" fmla="*/ 4416697 w 5087937"/>
              <a:gd name="connsiteY308" fmla="*/ 6386422 h 6857999"/>
              <a:gd name="connsiteX309" fmla="*/ 4606904 w 5087937"/>
              <a:gd name="connsiteY309" fmla="*/ 6324346 h 6857999"/>
              <a:gd name="connsiteX310" fmla="*/ 4702133 w 5087937"/>
              <a:gd name="connsiteY310" fmla="*/ 6134352 h 6857999"/>
              <a:gd name="connsiteX311" fmla="*/ 4610493 w 5087937"/>
              <a:gd name="connsiteY311" fmla="*/ 5977473 h 6857999"/>
              <a:gd name="connsiteX312" fmla="*/ 4594973 w 5087937"/>
              <a:gd name="connsiteY312" fmla="*/ 5965213 h 6857999"/>
              <a:gd name="connsiteX313" fmla="*/ 4602132 w 5087937"/>
              <a:gd name="connsiteY313" fmla="*/ 5954310 h 6857999"/>
              <a:gd name="connsiteX314" fmla="*/ 4645779 w 5087937"/>
              <a:gd name="connsiteY314" fmla="*/ 5831282 h 6857999"/>
              <a:gd name="connsiteX315" fmla="*/ 4603276 w 5087937"/>
              <a:gd name="connsiteY315" fmla="*/ 5731688 h 6857999"/>
              <a:gd name="connsiteX316" fmla="*/ 4456019 w 5087937"/>
              <a:gd name="connsiteY316" fmla="*/ 5683559 h 6857999"/>
              <a:gd name="connsiteX317" fmla="*/ 0 w 5087937"/>
              <a:gd name="connsiteY317" fmla="*/ 0 h 6857999"/>
              <a:gd name="connsiteX318" fmla="*/ 5087937 w 5087937"/>
              <a:gd name="connsiteY318" fmla="*/ 0 h 6857999"/>
              <a:gd name="connsiteX319" fmla="*/ 5087937 w 5087937"/>
              <a:gd name="connsiteY319" fmla="*/ 6857999 h 6857999"/>
              <a:gd name="connsiteX320" fmla="*/ 0 w 5087937"/>
              <a:gd name="connsiteY32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5087937" h="6857999">
                <a:moveTo>
                  <a:pt x="4586963" y="6510555"/>
                </a:moveTo>
                <a:lnTo>
                  <a:pt x="4586943" y="6519246"/>
                </a:lnTo>
                <a:cubicBezTo>
                  <a:pt x="4586943" y="6524348"/>
                  <a:pt x="4586284" y="6538800"/>
                  <a:pt x="4568068" y="6538800"/>
                </a:cubicBezTo>
                <a:cubicBezTo>
                  <a:pt x="4560502" y="6538800"/>
                  <a:pt x="4553771" y="6536666"/>
                  <a:pt x="4553771" y="6527956"/>
                </a:cubicBezTo>
                <a:cubicBezTo>
                  <a:pt x="4553771" y="6519246"/>
                  <a:pt x="4560347" y="6516957"/>
                  <a:pt x="4567564" y="6515483"/>
                </a:cubicBezTo>
                <a:cubicBezTo>
                  <a:pt x="4574780" y="6514008"/>
                  <a:pt x="4583083" y="6514008"/>
                  <a:pt x="4586963" y="6510555"/>
                </a:cubicBezTo>
                <a:close/>
                <a:moveTo>
                  <a:pt x="4659282" y="6482485"/>
                </a:moveTo>
                <a:cubicBezTo>
                  <a:pt x="4674374" y="6482485"/>
                  <a:pt x="4679146" y="6494804"/>
                  <a:pt x="4679146" y="6508577"/>
                </a:cubicBezTo>
                <a:cubicBezTo>
                  <a:pt x="4679146" y="6520740"/>
                  <a:pt x="4672570" y="6532069"/>
                  <a:pt x="4659282" y="6532069"/>
                </a:cubicBezTo>
                <a:cubicBezTo>
                  <a:pt x="4644985" y="6532069"/>
                  <a:pt x="4640406" y="6518761"/>
                  <a:pt x="4640406" y="6506618"/>
                </a:cubicBezTo>
                <a:cubicBezTo>
                  <a:pt x="4640406" y="6493989"/>
                  <a:pt x="4646226" y="6482485"/>
                  <a:pt x="4659282" y="6482485"/>
                </a:cubicBezTo>
                <a:close/>
                <a:moveTo>
                  <a:pt x="4427910" y="6482485"/>
                </a:moveTo>
                <a:cubicBezTo>
                  <a:pt x="4439239" y="6482485"/>
                  <a:pt x="4444340" y="6488732"/>
                  <a:pt x="4446474" y="6500546"/>
                </a:cubicBezTo>
                <a:lnTo>
                  <a:pt x="4408511" y="6500546"/>
                </a:lnTo>
                <a:cubicBezTo>
                  <a:pt x="4408840" y="6493970"/>
                  <a:pt x="4413108" y="6482485"/>
                  <a:pt x="4427910" y="6482485"/>
                </a:cubicBezTo>
                <a:close/>
                <a:moveTo>
                  <a:pt x="4279410" y="6482408"/>
                </a:moveTo>
                <a:cubicBezTo>
                  <a:pt x="4295162" y="6482408"/>
                  <a:pt x="4300090" y="6495987"/>
                  <a:pt x="4300090" y="6509663"/>
                </a:cubicBezTo>
                <a:cubicBezTo>
                  <a:pt x="4300090" y="6523340"/>
                  <a:pt x="4295337" y="6536822"/>
                  <a:pt x="4279410" y="6536822"/>
                </a:cubicBezTo>
                <a:cubicBezTo>
                  <a:pt x="4263658" y="6536822"/>
                  <a:pt x="4258886" y="6523243"/>
                  <a:pt x="4258886" y="6509663"/>
                </a:cubicBezTo>
                <a:cubicBezTo>
                  <a:pt x="4258886" y="6496084"/>
                  <a:pt x="4263658" y="6482408"/>
                  <a:pt x="4279410" y="6482408"/>
                </a:cubicBezTo>
                <a:close/>
                <a:moveTo>
                  <a:pt x="4653598" y="6464968"/>
                </a:moveTo>
                <a:cubicBezTo>
                  <a:pt x="4629795" y="6464968"/>
                  <a:pt x="4617147" y="6485007"/>
                  <a:pt x="4617147" y="6507006"/>
                </a:cubicBezTo>
                <a:cubicBezTo>
                  <a:pt x="4617147" y="6530284"/>
                  <a:pt x="4627972" y="6549683"/>
                  <a:pt x="4653423" y="6549683"/>
                </a:cubicBezTo>
                <a:cubicBezTo>
                  <a:pt x="4663608" y="6549683"/>
                  <a:pt x="4673773" y="6545416"/>
                  <a:pt x="4678875" y="6536550"/>
                </a:cubicBezTo>
                <a:lnTo>
                  <a:pt x="4679204" y="6536550"/>
                </a:lnTo>
                <a:lnTo>
                  <a:pt x="4679204" y="6547705"/>
                </a:lnTo>
                <a:cubicBezTo>
                  <a:pt x="4679360" y="6559868"/>
                  <a:pt x="4673385" y="6568714"/>
                  <a:pt x="4660484" y="6568714"/>
                </a:cubicBezTo>
                <a:cubicBezTo>
                  <a:pt x="4652279" y="6568714"/>
                  <a:pt x="4645217" y="6565765"/>
                  <a:pt x="4643025" y="6557074"/>
                </a:cubicBezTo>
                <a:lnTo>
                  <a:pt x="4619882" y="6557074"/>
                </a:lnTo>
                <a:cubicBezTo>
                  <a:pt x="4621027" y="6576473"/>
                  <a:pt x="4640562" y="6584330"/>
                  <a:pt x="4657303" y="6584330"/>
                </a:cubicBezTo>
                <a:cubicBezTo>
                  <a:pt x="4696372" y="6584330"/>
                  <a:pt x="4701300" y="6560682"/>
                  <a:pt x="4701300" y="6546735"/>
                </a:cubicBezTo>
                <a:lnTo>
                  <a:pt x="4701300" y="6467276"/>
                </a:lnTo>
                <a:lnTo>
                  <a:pt x="4679146" y="6467276"/>
                </a:lnTo>
                <a:lnTo>
                  <a:pt x="4679146" y="6478547"/>
                </a:lnTo>
                <a:lnTo>
                  <a:pt x="4678816" y="6478547"/>
                </a:lnTo>
                <a:cubicBezTo>
                  <a:pt x="4673229" y="6468693"/>
                  <a:pt x="4664694" y="6464968"/>
                  <a:pt x="4653598" y="6464968"/>
                </a:cubicBezTo>
                <a:close/>
                <a:moveTo>
                  <a:pt x="4572957" y="6464929"/>
                </a:moveTo>
                <a:cubicBezTo>
                  <a:pt x="4553907" y="6464929"/>
                  <a:pt x="4534372" y="6471486"/>
                  <a:pt x="4533053" y="6493329"/>
                </a:cubicBezTo>
                <a:lnTo>
                  <a:pt x="4556332" y="6493329"/>
                </a:lnTo>
                <a:cubicBezTo>
                  <a:pt x="4557146" y="6484134"/>
                  <a:pt x="4562888" y="6480526"/>
                  <a:pt x="4571851" y="6480526"/>
                </a:cubicBezTo>
                <a:cubicBezTo>
                  <a:pt x="4580057" y="6480526"/>
                  <a:pt x="4586963" y="6482000"/>
                  <a:pt x="4586963" y="6492010"/>
                </a:cubicBezTo>
                <a:cubicBezTo>
                  <a:pt x="4586963" y="6501535"/>
                  <a:pt x="4573674" y="6501030"/>
                  <a:pt x="4559377" y="6503164"/>
                </a:cubicBezTo>
                <a:cubicBezTo>
                  <a:pt x="4545080" y="6505298"/>
                  <a:pt x="4530531" y="6509741"/>
                  <a:pt x="4530531" y="6528946"/>
                </a:cubicBezTo>
                <a:cubicBezTo>
                  <a:pt x="4530531" y="6546405"/>
                  <a:pt x="4543334" y="6554397"/>
                  <a:pt x="4559416" y="6554397"/>
                </a:cubicBezTo>
                <a:cubicBezTo>
                  <a:pt x="4569756" y="6554397"/>
                  <a:pt x="4580600" y="6551604"/>
                  <a:pt x="4587991" y="6543883"/>
                </a:cubicBezTo>
                <a:cubicBezTo>
                  <a:pt x="4588202" y="6546674"/>
                  <a:pt x="4588749" y="6549429"/>
                  <a:pt x="4589620" y="6552089"/>
                </a:cubicBezTo>
                <a:lnTo>
                  <a:pt x="4613171" y="6552089"/>
                </a:lnTo>
                <a:cubicBezTo>
                  <a:pt x="4611037" y="6548636"/>
                  <a:pt x="4610222" y="6540934"/>
                  <a:pt x="4610222" y="6533213"/>
                </a:cubicBezTo>
                <a:lnTo>
                  <a:pt x="4610222" y="6489061"/>
                </a:lnTo>
                <a:cubicBezTo>
                  <a:pt x="4610222" y="6468692"/>
                  <a:pt x="4589853" y="6464929"/>
                  <a:pt x="4572957" y="6464929"/>
                </a:cubicBezTo>
                <a:close/>
                <a:moveTo>
                  <a:pt x="4428530" y="6464910"/>
                </a:moveTo>
                <a:cubicBezTo>
                  <a:pt x="4402749" y="6464910"/>
                  <a:pt x="4385193" y="6484309"/>
                  <a:pt x="4385193" y="6509722"/>
                </a:cubicBezTo>
                <a:cubicBezTo>
                  <a:pt x="4385193" y="6536007"/>
                  <a:pt x="4401779" y="6554339"/>
                  <a:pt x="4428530" y="6554339"/>
                </a:cubicBezTo>
                <a:cubicBezTo>
                  <a:pt x="4447735" y="6554339"/>
                  <a:pt x="4461683" y="6545804"/>
                  <a:pt x="4468259" y="6525784"/>
                </a:cubicBezTo>
                <a:lnTo>
                  <a:pt x="4447735" y="6525784"/>
                </a:lnTo>
                <a:cubicBezTo>
                  <a:pt x="4446261" y="6531022"/>
                  <a:pt x="4438715" y="6536783"/>
                  <a:pt x="4429364" y="6536783"/>
                </a:cubicBezTo>
                <a:cubicBezTo>
                  <a:pt x="4416387" y="6536783"/>
                  <a:pt x="4409151" y="6530052"/>
                  <a:pt x="4408511" y="6515270"/>
                </a:cubicBezTo>
                <a:lnTo>
                  <a:pt x="4469734" y="6515270"/>
                </a:lnTo>
                <a:cubicBezTo>
                  <a:pt x="4471383" y="6489217"/>
                  <a:pt x="4457415" y="6464910"/>
                  <a:pt x="4428530" y="6464910"/>
                </a:cubicBezTo>
                <a:close/>
                <a:moveTo>
                  <a:pt x="4380227" y="6464910"/>
                </a:moveTo>
                <a:cubicBezTo>
                  <a:pt x="4368411" y="6465065"/>
                  <a:pt x="4357783" y="6472134"/>
                  <a:pt x="4353069" y="6482970"/>
                </a:cubicBezTo>
                <a:lnTo>
                  <a:pt x="4352739" y="6482970"/>
                </a:lnTo>
                <a:lnTo>
                  <a:pt x="4352739" y="6467277"/>
                </a:lnTo>
                <a:lnTo>
                  <a:pt x="4330721" y="6467277"/>
                </a:lnTo>
                <a:lnTo>
                  <a:pt x="4330721" y="6552147"/>
                </a:lnTo>
                <a:lnTo>
                  <a:pt x="4354000" y="6552147"/>
                </a:lnTo>
                <a:lnTo>
                  <a:pt x="4354000" y="6513834"/>
                </a:lnTo>
                <a:cubicBezTo>
                  <a:pt x="4354000" y="6498897"/>
                  <a:pt x="4359819" y="6486676"/>
                  <a:pt x="4376988" y="6486676"/>
                </a:cubicBezTo>
                <a:cubicBezTo>
                  <a:pt x="4379800" y="6486666"/>
                  <a:pt x="4382609" y="6486938"/>
                  <a:pt x="4385368" y="6487490"/>
                </a:cubicBezTo>
                <a:lnTo>
                  <a:pt x="4385329" y="6465744"/>
                </a:lnTo>
                <a:cubicBezTo>
                  <a:pt x="4383680" y="6465215"/>
                  <a:pt x="4381960" y="6464933"/>
                  <a:pt x="4380227" y="6464910"/>
                </a:cubicBezTo>
                <a:close/>
                <a:moveTo>
                  <a:pt x="4279410" y="6464910"/>
                </a:moveTo>
                <a:cubicBezTo>
                  <a:pt x="4252814" y="6464910"/>
                  <a:pt x="4235588" y="6482641"/>
                  <a:pt x="4235588" y="6509722"/>
                </a:cubicBezTo>
                <a:cubicBezTo>
                  <a:pt x="4235588" y="6536803"/>
                  <a:pt x="4252814" y="6554339"/>
                  <a:pt x="4279410" y="6554339"/>
                </a:cubicBezTo>
                <a:cubicBezTo>
                  <a:pt x="4306006" y="6554339"/>
                  <a:pt x="4323407" y="6536609"/>
                  <a:pt x="4323407" y="6509722"/>
                </a:cubicBezTo>
                <a:cubicBezTo>
                  <a:pt x="4323407" y="6482835"/>
                  <a:pt x="4306181" y="6464910"/>
                  <a:pt x="4279410" y="6464910"/>
                </a:cubicBezTo>
                <a:close/>
                <a:moveTo>
                  <a:pt x="4484981" y="6441767"/>
                </a:moveTo>
                <a:lnTo>
                  <a:pt x="4484981" y="6467277"/>
                </a:lnTo>
                <a:lnTo>
                  <a:pt x="4470859" y="6467277"/>
                </a:lnTo>
                <a:lnTo>
                  <a:pt x="4470859" y="6482796"/>
                </a:lnTo>
                <a:lnTo>
                  <a:pt x="4484981" y="6482796"/>
                </a:lnTo>
                <a:lnTo>
                  <a:pt x="4484981" y="6532865"/>
                </a:lnTo>
                <a:cubicBezTo>
                  <a:pt x="4484981" y="6549780"/>
                  <a:pt x="4497455" y="6553059"/>
                  <a:pt x="4511733" y="6553059"/>
                </a:cubicBezTo>
                <a:cubicBezTo>
                  <a:pt x="4516274" y="6553135"/>
                  <a:pt x="4520813" y="6552861"/>
                  <a:pt x="4525312" y="6552244"/>
                </a:cubicBezTo>
                <a:lnTo>
                  <a:pt x="4525312" y="6534009"/>
                </a:lnTo>
                <a:cubicBezTo>
                  <a:pt x="4522934" y="6534469"/>
                  <a:pt x="4520516" y="6534690"/>
                  <a:pt x="4518095" y="6534669"/>
                </a:cubicBezTo>
                <a:cubicBezTo>
                  <a:pt x="4510200" y="6534669"/>
                  <a:pt x="4508241" y="6532729"/>
                  <a:pt x="4508241" y="6524814"/>
                </a:cubicBezTo>
                <a:lnTo>
                  <a:pt x="4508241" y="6482796"/>
                </a:lnTo>
                <a:lnTo>
                  <a:pt x="4525312" y="6482796"/>
                </a:lnTo>
                <a:lnTo>
                  <a:pt x="4525312" y="6467277"/>
                </a:lnTo>
                <a:lnTo>
                  <a:pt x="4508241" y="6467277"/>
                </a:lnTo>
                <a:lnTo>
                  <a:pt x="4508260" y="6441767"/>
                </a:lnTo>
                <a:close/>
                <a:moveTo>
                  <a:pt x="4285327" y="6434880"/>
                </a:moveTo>
                <a:lnTo>
                  <a:pt x="4285327" y="6454085"/>
                </a:lnTo>
                <a:lnTo>
                  <a:pt x="4307481" y="6454085"/>
                </a:lnTo>
                <a:lnTo>
                  <a:pt x="4307481" y="6434880"/>
                </a:lnTo>
                <a:close/>
                <a:moveTo>
                  <a:pt x="4251515" y="6434880"/>
                </a:moveTo>
                <a:lnTo>
                  <a:pt x="4251515" y="6454085"/>
                </a:lnTo>
                <a:lnTo>
                  <a:pt x="4273669" y="6454085"/>
                </a:lnTo>
                <a:lnTo>
                  <a:pt x="4273669" y="6434880"/>
                </a:lnTo>
                <a:close/>
                <a:moveTo>
                  <a:pt x="4153085" y="6434880"/>
                </a:moveTo>
                <a:lnTo>
                  <a:pt x="4153085" y="6552089"/>
                </a:lnTo>
                <a:lnTo>
                  <a:pt x="4178866" y="6552089"/>
                </a:lnTo>
                <a:lnTo>
                  <a:pt x="4178866" y="6503669"/>
                </a:lnTo>
                <a:lnTo>
                  <a:pt x="4227946" y="6503669"/>
                </a:lnTo>
                <a:lnTo>
                  <a:pt x="4227946" y="6483649"/>
                </a:lnTo>
                <a:lnTo>
                  <a:pt x="4178866" y="6483649"/>
                </a:lnTo>
                <a:lnTo>
                  <a:pt x="4178866" y="6456549"/>
                </a:lnTo>
                <a:lnTo>
                  <a:pt x="4235511" y="6456549"/>
                </a:lnTo>
                <a:lnTo>
                  <a:pt x="4235511" y="6434880"/>
                </a:lnTo>
                <a:close/>
                <a:moveTo>
                  <a:pt x="4483429" y="6050762"/>
                </a:moveTo>
                <a:cubicBezTo>
                  <a:pt x="4529172" y="6061684"/>
                  <a:pt x="4576680" y="6085195"/>
                  <a:pt x="4603102" y="6120598"/>
                </a:cubicBezTo>
                <a:cubicBezTo>
                  <a:pt x="4593920" y="6117399"/>
                  <a:pt x="4584269" y="6115747"/>
                  <a:pt x="4574546" y="6115710"/>
                </a:cubicBezTo>
                <a:cubicBezTo>
                  <a:pt x="4566011" y="6115846"/>
                  <a:pt x="4559221" y="6124730"/>
                  <a:pt x="4559202" y="6134895"/>
                </a:cubicBezTo>
                <a:cubicBezTo>
                  <a:pt x="4559202" y="6140230"/>
                  <a:pt x="4561142" y="6146263"/>
                  <a:pt x="4563644" y="6153829"/>
                </a:cubicBezTo>
                <a:cubicBezTo>
                  <a:pt x="4567524" y="6165468"/>
                  <a:pt x="4572374" y="6180677"/>
                  <a:pt x="4572374" y="6198757"/>
                </a:cubicBezTo>
                <a:cubicBezTo>
                  <a:pt x="4572374" y="6215401"/>
                  <a:pt x="4568242" y="6234548"/>
                  <a:pt x="4555109" y="6255945"/>
                </a:cubicBezTo>
                <a:cubicBezTo>
                  <a:pt x="4554721" y="6238699"/>
                  <a:pt x="4550065" y="6224907"/>
                  <a:pt x="4544090" y="6217535"/>
                </a:cubicBezTo>
                <a:cubicBezTo>
                  <a:pt x="4539395" y="6211832"/>
                  <a:pt x="4534390" y="6210377"/>
                  <a:pt x="4531015" y="6210396"/>
                </a:cubicBezTo>
                <a:cubicBezTo>
                  <a:pt x="4525781" y="6210524"/>
                  <a:pt x="4520896" y="6213048"/>
                  <a:pt x="4517766" y="6217244"/>
                </a:cubicBezTo>
                <a:cubicBezTo>
                  <a:pt x="4513876" y="6222259"/>
                  <a:pt x="4510491" y="6227646"/>
                  <a:pt x="4507659" y="6233326"/>
                </a:cubicBezTo>
                <a:cubicBezTo>
                  <a:pt x="4495069" y="6255906"/>
                  <a:pt x="4475262" y="6291911"/>
                  <a:pt x="4413263" y="6310553"/>
                </a:cubicBezTo>
                <a:cubicBezTo>
                  <a:pt x="4418870" y="6300853"/>
                  <a:pt x="4421779" y="6290999"/>
                  <a:pt x="4421799" y="6283045"/>
                </a:cubicBezTo>
                <a:cubicBezTo>
                  <a:pt x="4421853" y="6280176"/>
                  <a:pt x="4421353" y="6277324"/>
                  <a:pt x="4420324" y="6274646"/>
                </a:cubicBezTo>
                <a:cubicBezTo>
                  <a:pt x="4418701" y="6270124"/>
                  <a:pt x="4414421" y="6267099"/>
                  <a:pt x="4409616" y="6267080"/>
                </a:cubicBezTo>
                <a:lnTo>
                  <a:pt x="4409461" y="6267080"/>
                </a:lnTo>
                <a:cubicBezTo>
                  <a:pt x="4402710" y="6267332"/>
                  <a:pt x="4394795" y="6269485"/>
                  <a:pt x="4385658" y="6272104"/>
                </a:cubicBezTo>
                <a:cubicBezTo>
                  <a:pt x="4371458" y="6276100"/>
                  <a:pt x="4353999" y="6281047"/>
                  <a:pt x="4335027" y="6281047"/>
                </a:cubicBezTo>
                <a:cubicBezTo>
                  <a:pt x="4315318" y="6281047"/>
                  <a:pt x="4293785" y="6275887"/>
                  <a:pt x="4271651" y="6259126"/>
                </a:cubicBezTo>
                <a:cubicBezTo>
                  <a:pt x="4278743" y="6258284"/>
                  <a:pt x="4285461" y="6255483"/>
                  <a:pt x="4291050" y="6251037"/>
                </a:cubicBezTo>
                <a:cubicBezTo>
                  <a:pt x="4295003" y="6247925"/>
                  <a:pt x="4297421" y="6243258"/>
                  <a:pt x="4297684" y="6238234"/>
                </a:cubicBezTo>
                <a:cubicBezTo>
                  <a:pt x="4297684" y="6230978"/>
                  <a:pt x="4291864" y="6226012"/>
                  <a:pt x="4285385" y="6220037"/>
                </a:cubicBezTo>
                <a:cubicBezTo>
                  <a:pt x="4275918" y="6211095"/>
                  <a:pt x="4264589" y="6200638"/>
                  <a:pt x="4264609" y="6182888"/>
                </a:cubicBezTo>
                <a:cubicBezTo>
                  <a:pt x="4264685" y="6176929"/>
                  <a:pt x="4265767" y="6171028"/>
                  <a:pt x="4267810" y="6165429"/>
                </a:cubicBezTo>
                <a:cubicBezTo>
                  <a:pt x="4269747" y="6170927"/>
                  <a:pt x="4272709" y="6176010"/>
                  <a:pt x="4276539" y="6180405"/>
                </a:cubicBezTo>
                <a:cubicBezTo>
                  <a:pt x="4282359" y="6186632"/>
                  <a:pt x="4289246" y="6190493"/>
                  <a:pt x="4295938" y="6190493"/>
                </a:cubicBezTo>
                <a:cubicBezTo>
                  <a:pt x="4303058" y="6190590"/>
                  <a:pt x="4307267" y="6187156"/>
                  <a:pt x="4309071" y="6182869"/>
                </a:cubicBezTo>
                <a:cubicBezTo>
                  <a:pt x="4310524" y="6178690"/>
                  <a:pt x="4311130" y="6174267"/>
                  <a:pt x="4310856" y="6169852"/>
                </a:cubicBezTo>
                <a:cubicBezTo>
                  <a:pt x="4310966" y="6165418"/>
                  <a:pt x="4312870" y="6161218"/>
                  <a:pt x="4316133" y="6158213"/>
                </a:cubicBezTo>
                <a:cubicBezTo>
                  <a:pt x="4319434" y="6154938"/>
                  <a:pt x="4323879" y="6153074"/>
                  <a:pt x="4328529" y="6153014"/>
                </a:cubicBezTo>
                <a:cubicBezTo>
                  <a:pt x="4338946" y="6153014"/>
                  <a:pt x="4346841" y="6158834"/>
                  <a:pt x="4352370" y="6167486"/>
                </a:cubicBezTo>
                <a:cubicBezTo>
                  <a:pt x="4357922" y="6176881"/>
                  <a:pt x="4360805" y="6187612"/>
                  <a:pt x="4360711" y="6198524"/>
                </a:cubicBezTo>
                <a:cubicBezTo>
                  <a:pt x="4360806" y="6204821"/>
                  <a:pt x="4359685" y="6211079"/>
                  <a:pt x="4357414" y="6216953"/>
                </a:cubicBezTo>
                <a:lnTo>
                  <a:pt x="4355027" y="6222773"/>
                </a:lnTo>
                <a:lnTo>
                  <a:pt x="4359935" y="6218893"/>
                </a:lnTo>
                <a:cubicBezTo>
                  <a:pt x="4368411" y="6212187"/>
                  <a:pt x="4375245" y="6203634"/>
                  <a:pt x="4379916" y="6193888"/>
                </a:cubicBezTo>
                <a:cubicBezTo>
                  <a:pt x="4382419" y="6194004"/>
                  <a:pt x="4384883" y="6194062"/>
                  <a:pt x="4387327" y="6194062"/>
                </a:cubicBezTo>
                <a:lnTo>
                  <a:pt x="4387327" y="6193985"/>
                </a:lnTo>
                <a:cubicBezTo>
                  <a:pt x="4418016" y="6193985"/>
                  <a:pt x="4443584" y="6184654"/>
                  <a:pt x="4463410" y="6166477"/>
                </a:cubicBezTo>
                <a:cubicBezTo>
                  <a:pt x="4484554" y="6147214"/>
                  <a:pt x="4496582" y="6118406"/>
                  <a:pt x="4496582" y="6087445"/>
                </a:cubicBezTo>
                <a:cubicBezTo>
                  <a:pt x="4496582" y="6072625"/>
                  <a:pt x="4491965" y="6060287"/>
                  <a:pt x="4483429" y="6050762"/>
                </a:cubicBezTo>
                <a:close/>
                <a:moveTo>
                  <a:pt x="4434796" y="5766140"/>
                </a:moveTo>
                <a:cubicBezTo>
                  <a:pt x="4424806" y="5777450"/>
                  <a:pt x="4418346" y="5790312"/>
                  <a:pt x="4418307" y="5801408"/>
                </a:cubicBezTo>
                <a:cubicBezTo>
                  <a:pt x="4418251" y="5804315"/>
                  <a:pt x="4419296" y="5807136"/>
                  <a:pt x="4421236" y="5809303"/>
                </a:cubicBezTo>
                <a:cubicBezTo>
                  <a:pt x="4423851" y="5811902"/>
                  <a:pt x="4427450" y="5813263"/>
                  <a:pt x="4431130" y="5813047"/>
                </a:cubicBezTo>
                <a:cubicBezTo>
                  <a:pt x="4438889" y="5813047"/>
                  <a:pt x="4447444" y="5810079"/>
                  <a:pt x="4457415" y="5806898"/>
                </a:cubicBezTo>
                <a:cubicBezTo>
                  <a:pt x="4470995" y="5802455"/>
                  <a:pt x="4486514" y="5797373"/>
                  <a:pt x="4503721" y="5797373"/>
                </a:cubicBezTo>
                <a:cubicBezTo>
                  <a:pt x="4518697" y="5797373"/>
                  <a:pt x="4534875" y="5801253"/>
                  <a:pt x="4552121" y="5812756"/>
                </a:cubicBezTo>
                <a:cubicBezTo>
                  <a:pt x="4540676" y="5813493"/>
                  <a:pt x="4531287" y="5816849"/>
                  <a:pt x="4525409" y="5821486"/>
                </a:cubicBezTo>
                <a:cubicBezTo>
                  <a:pt x="4519046" y="5826394"/>
                  <a:pt x="4517475" y="5831980"/>
                  <a:pt x="4517513" y="5835841"/>
                </a:cubicBezTo>
                <a:cubicBezTo>
                  <a:pt x="4517513" y="5842184"/>
                  <a:pt x="4522014" y="5846976"/>
                  <a:pt x="4527543" y="5853300"/>
                </a:cubicBezTo>
                <a:cubicBezTo>
                  <a:pt x="4536350" y="5863310"/>
                  <a:pt x="4547989" y="5876462"/>
                  <a:pt x="4548086" y="5897607"/>
                </a:cubicBezTo>
                <a:cubicBezTo>
                  <a:pt x="4547696" y="5913514"/>
                  <a:pt x="4542577" y="5928946"/>
                  <a:pt x="4533382" y="5941934"/>
                </a:cubicBezTo>
                <a:cubicBezTo>
                  <a:pt x="4533382" y="5941041"/>
                  <a:pt x="4533382" y="5940130"/>
                  <a:pt x="4533382" y="5939199"/>
                </a:cubicBezTo>
                <a:cubicBezTo>
                  <a:pt x="4533382" y="5928471"/>
                  <a:pt x="4530996" y="5916347"/>
                  <a:pt x="4525118" y="5909479"/>
                </a:cubicBezTo>
                <a:cubicBezTo>
                  <a:pt x="4521736" y="5905487"/>
                  <a:pt x="4516768" y="5903188"/>
                  <a:pt x="4511538" y="5903194"/>
                </a:cubicBezTo>
                <a:cubicBezTo>
                  <a:pt x="4502479" y="5903194"/>
                  <a:pt x="4494661" y="5910178"/>
                  <a:pt x="4483022" y="5919761"/>
                </a:cubicBezTo>
                <a:cubicBezTo>
                  <a:pt x="4473084" y="5928337"/>
                  <a:pt x="4462579" y="5936231"/>
                  <a:pt x="4451576" y="5943389"/>
                </a:cubicBezTo>
                <a:cubicBezTo>
                  <a:pt x="4397065" y="5977725"/>
                  <a:pt x="4367850" y="5991052"/>
                  <a:pt x="4347113" y="5992740"/>
                </a:cubicBezTo>
                <a:cubicBezTo>
                  <a:pt x="4339489" y="5993360"/>
                  <a:pt x="4328005" y="5993225"/>
                  <a:pt x="4337374" y="5983855"/>
                </a:cubicBezTo>
                <a:cubicBezTo>
                  <a:pt x="4346958" y="5974272"/>
                  <a:pt x="4366764" y="5960712"/>
                  <a:pt x="4381546" y="5951342"/>
                </a:cubicBezTo>
                <a:cubicBezTo>
                  <a:pt x="4396037" y="5942031"/>
                  <a:pt x="4409054" y="5933728"/>
                  <a:pt x="4418579" y="5925387"/>
                </a:cubicBezTo>
                <a:cubicBezTo>
                  <a:pt x="4428103" y="5917045"/>
                  <a:pt x="4434272" y="5908568"/>
                  <a:pt x="4434311" y="5898752"/>
                </a:cubicBezTo>
                <a:cubicBezTo>
                  <a:pt x="4434332" y="5891077"/>
                  <a:pt x="4431254" y="5883718"/>
                  <a:pt x="4425776" y="5878344"/>
                </a:cubicBezTo>
                <a:cubicBezTo>
                  <a:pt x="4415669" y="5868412"/>
                  <a:pt x="4397783" y="5863756"/>
                  <a:pt x="4375474" y="5861273"/>
                </a:cubicBezTo>
                <a:cubicBezTo>
                  <a:pt x="4353165" y="5858790"/>
                  <a:pt x="4326317" y="5858732"/>
                  <a:pt x="4298499" y="5858732"/>
                </a:cubicBezTo>
                <a:lnTo>
                  <a:pt x="4290875" y="5858732"/>
                </a:lnTo>
                <a:cubicBezTo>
                  <a:pt x="4267965" y="5858732"/>
                  <a:pt x="4249691" y="5858402"/>
                  <a:pt x="4235122" y="5857820"/>
                </a:cubicBezTo>
                <a:cubicBezTo>
                  <a:pt x="4255356" y="5849944"/>
                  <a:pt x="4278790" y="5837451"/>
                  <a:pt x="4304319" y="5823814"/>
                </a:cubicBezTo>
                <a:cubicBezTo>
                  <a:pt x="4345716" y="5801660"/>
                  <a:pt x="4391614" y="5777081"/>
                  <a:pt x="4434796" y="5766140"/>
                </a:cubicBezTo>
                <a:close/>
                <a:moveTo>
                  <a:pt x="4456019" y="5707187"/>
                </a:moveTo>
                <a:cubicBezTo>
                  <a:pt x="4509890" y="5707187"/>
                  <a:pt x="4553731" y="5720514"/>
                  <a:pt x="4582868" y="5745384"/>
                </a:cubicBezTo>
                <a:cubicBezTo>
                  <a:pt x="4608060" y="5766780"/>
                  <a:pt x="4622404" y="5798291"/>
                  <a:pt x="4621996" y="5831340"/>
                </a:cubicBezTo>
                <a:cubicBezTo>
                  <a:pt x="4621996" y="5883446"/>
                  <a:pt x="4597456" y="5919373"/>
                  <a:pt x="4582519" y="5941100"/>
                </a:cubicBezTo>
                <a:cubicBezTo>
                  <a:pt x="4574895" y="5952099"/>
                  <a:pt x="4570356" y="5958559"/>
                  <a:pt x="4570279" y="5965911"/>
                </a:cubicBezTo>
                <a:cubicBezTo>
                  <a:pt x="4570279" y="5971731"/>
                  <a:pt x="4573072" y="5976639"/>
                  <a:pt x="4577592" y="5981275"/>
                </a:cubicBezTo>
                <a:cubicBezTo>
                  <a:pt x="4583472" y="5986804"/>
                  <a:pt x="4589755" y="5991888"/>
                  <a:pt x="4596390" y="5996484"/>
                </a:cubicBezTo>
                <a:cubicBezTo>
                  <a:pt x="4627428" y="6019472"/>
                  <a:pt x="4678408" y="6056970"/>
                  <a:pt x="4678428" y="6134430"/>
                </a:cubicBezTo>
                <a:cubicBezTo>
                  <a:pt x="4678428" y="6222443"/>
                  <a:pt x="4631870" y="6275926"/>
                  <a:pt x="4592762" y="6305470"/>
                </a:cubicBezTo>
                <a:cubicBezTo>
                  <a:pt x="4544497" y="6341863"/>
                  <a:pt x="4480248" y="6362775"/>
                  <a:pt x="4416697" y="6362756"/>
                </a:cubicBezTo>
                <a:cubicBezTo>
                  <a:pt x="4257955" y="6362697"/>
                  <a:pt x="4175897" y="6274452"/>
                  <a:pt x="4175897" y="6187932"/>
                </a:cubicBezTo>
                <a:cubicBezTo>
                  <a:pt x="4176003" y="6161567"/>
                  <a:pt x="4185650" y="6136133"/>
                  <a:pt x="4203056" y="6116331"/>
                </a:cubicBezTo>
                <a:cubicBezTo>
                  <a:pt x="4220515" y="6096602"/>
                  <a:pt x="4245966" y="6083352"/>
                  <a:pt x="4277839" y="6083352"/>
                </a:cubicBezTo>
                <a:cubicBezTo>
                  <a:pt x="4295647" y="6083352"/>
                  <a:pt x="4318131" y="6087523"/>
                  <a:pt x="4336036" y="6099453"/>
                </a:cubicBezTo>
                <a:cubicBezTo>
                  <a:pt x="4353941" y="6111384"/>
                  <a:pt x="4367249" y="6130919"/>
                  <a:pt x="4367288" y="6162558"/>
                </a:cubicBezTo>
                <a:cubicBezTo>
                  <a:pt x="4367288" y="6163470"/>
                  <a:pt x="4367288" y="6164498"/>
                  <a:pt x="4367288" y="6165313"/>
                </a:cubicBezTo>
                <a:cubicBezTo>
                  <a:pt x="4365497" y="6161272"/>
                  <a:pt x="4363173" y="6157487"/>
                  <a:pt x="4360382" y="6154062"/>
                </a:cubicBezTo>
                <a:cubicBezTo>
                  <a:pt x="4352684" y="6144426"/>
                  <a:pt x="4340937" y="6138925"/>
                  <a:pt x="4328606" y="6139183"/>
                </a:cubicBezTo>
                <a:cubicBezTo>
                  <a:pt x="4311554" y="6139183"/>
                  <a:pt x="4297063" y="6153150"/>
                  <a:pt x="4297025" y="6169891"/>
                </a:cubicBezTo>
                <a:cubicBezTo>
                  <a:pt x="4297125" y="6171926"/>
                  <a:pt x="4296862" y="6173963"/>
                  <a:pt x="4296249" y="6175905"/>
                </a:cubicBezTo>
                <a:cubicBezTo>
                  <a:pt x="4296153" y="6176139"/>
                  <a:pt x="4296029" y="6176361"/>
                  <a:pt x="4295880" y="6176564"/>
                </a:cubicBezTo>
                <a:cubicBezTo>
                  <a:pt x="4291729" y="6176467"/>
                  <a:pt x="4286762" y="6173596"/>
                  <a:pt x="4282844" y="6167932"/>
                </a:cubicBezTo>
                <a:cubicBezTo>
                  <a:pt x="4278043" y="6160453"/>
                  <a:pt x="4275634" y="6151691"/>
                  <a:pt x="4275938" y="6142810"/>
                </a:cubicBezTo>
                <a:cubicBezTo>
                  <a:pt x="4275935" y="6140548"/>
                  <a:pt x="4276058" y="6138288"/>
                  <a:pt x="4276306" y="6136040"/>
                </a:cubicBezTo>
                <a:lnTo>
                  <a:pt x="4276830" y="6130977"/>
                </a:lnTo>
                <a:lnTo>
                  <a:pt x="4273416" y="6134857"/>
                </a:lnTo>
                <a:cubicBezTo>
                  <a:pt x="4257354" y="6152723"/>
                  <a:pt x="4251573" y="6168863"/>
                  <a:pt x="4251573" y="6182772"/>
                </a:cubicBezTo>
                <a:cubicBezTo>
                  <a:pt x="4251573" y="6205546"/>
                  <a:pt x="4266937" y="6221764"/>
                  <a:pt x="4275996" y="6230261"/>
                </a:cubicBezTo>
                <a:cubicBezTo>
                  <a:pt x="4277684" y="6231774"/>
                  <a:pt x="4279721" y="6233675"/>
                  <a:pt x="4281311" y="6235363"/>
                </a:cubicBezTo>
                <a:cubicBezTo>
                  <a:pt x="4282004" y="6236059"/>
                  <a:pt x="4282651" y="6236796"/>
                  <a:pt x="4283251" y="6237574"/>
                </a:cubicBezTo>
                <a:cubicBezTo>
                  <a:pt x="4283444" y="6237820"/>
                  <a:pt x="4283619" y="6238080"/>
                  <a:pt x="4283775" y="6238350"/>
                </a:cubicBezTo>
                <a:lnTo>
                  <a:pt x="4283775" y="6238505"/>
                </a:lnTo>
                <a:cubicBezTo>
                  <a:pt x="4283639" y="6239320"/>
                  <a:pt x="4281971" y="6241512"/>
                  <a:pt x="4277723" y="6243200"/>
                </a:cubicBezTo>
                <a:cubicBezTo>
                  <a:pt x="4273164" y="6245140"/>
                  <a:pt x="4265870" y="6246614"/>
                  <a:pt x="4255453" y="6246614"/>
                </a:cubicBezTo>
                <a:cubicBezTo>
                  <a:pt x="4251825" y="6246614"/>
                  <a:pt x="4247829" y="6246439"/>
                  <a:pt x="4243425" y="6246032"/>
                </a:cubicBezTo>
                <a:lnTo>
                  <a:pt x="4239545" y="6245663"/>
                </a:lnTo>
                <a:lnTo>
                  <a:pt x="4242106" y="6248748"/>
                </a:lnTo>
                <a:cubicBezTo>
                  <a:pt x="4272504" y="6284985"/>
                  <a:pt x="4306123" y="6294898"/>
                  <a:pt x="4335221" y="6294879"/>
                </a:cubicBezTo>
                <a:cubicBezTo>
                  <a:pt x="4356715" y="6294879"/>
                  <a:pt x="4375784" y="6289525"/>
                  <a:pt x="4389538" y="6285684"/>
                </a:cubicBezTo>
                <a:cubicBezTo>
                  <a:pt x="4395358" y="6284035"/>
                  <a:pt x="4401895" y="6281571"/>
                  <a:pt x="4405504" y="6281629"/>
                </a:cubicBezTo>
                <a:cubicBezTo>
                  <a:pt x="4407017" y="6281629"/>
                  <a:pt x="4407638" y="6281978"/>
                  <a:pt x="4407909" y="6282405"/>
                </a:cubicBezTo>
                <a:cubicBezTo>
                  <a:pt x="4408400" y="6283235"/>
                  <a:pt x="4408623" y="6284198"/>
                  <a:pt x="4408549" y="6285160"/>
                </a:cubicBezTo>
                <a:cubicBezTo>
                  <a:pt x="4408549" y="6289350"/>
                  <a:pt x="4406086" y="6297013"/>
                  <a:pt x="4401915" y="6304869"/>
                </a:cubicBezTo>
                <a:cubicBezTo>
                  <a:pt x="4397705" y="6313036"/>
                  <a:pt x="4392173" y="6320450"/>
                  <a:pt x="4385542" y="6326809"/>
                </a:cubicBezTo>
                <a:lnTo>
                  <a:pt x="4381662" y="6330340"/>
                </a:lnTo>
                <a:lnTo>
                  <a:pt x="4386861" y="6329661"/>
                </a:lnTo>
                <a:cubicBezTo>
                  <a:pt x="4475670" y="6318254"/>
                  <a:pt x="4505195" y="6266770"/>
                  <a:pt x="4519919" y="6240232"/>
                </a:cubicBezTo>
                <a:cubicBezTo>
                  <a:pt x="4521960" y="6236263"/>
                  <a:pt x="4524208" y="6232404"/>
                  <a:pt x="4526650" y="6228670"/>
                </a:cubicBezTo>
                <a:cubicBezTo>
                  <a:pt x="4528590" y="6225702"/>
                  <a:pt x="4530627" y="6224247"/>
                  <a:pt x="4531112" y="6224422"/>
                </a:cubicBezTo>
                <a:cubicBezTo>
                  <a:pt x="4531927" y="6224422"/>
                  <a:pt x="4533285" y="6225178"/>
                  <a:pt x="4534740" y="6227370"/>
                </a:cubicBezTo>
                <a:cubicBezTo>
                  <a:pt x="4539124" y="6233830"/>
                  <a:pt x="4542790" y="6250048"/>
                  <a:pt x="4542751" y="6266925"/>
                </a:cubicBezTo>
                <a:cubicBezTo>
                  <a:pt x="4542798" y="6274238"/>
                  <a:pt x="4542065" y="6281534"/>
                  <a:pt x="4540559" y="6288690"/>
                </a:cubicBezTo>
                <a:lnTo>
                  <a:pt x="4539454" y="6293831"/>
                </a:lnTo>
                <a:lnTo>
                  <a:pt x="4543333" y="6290242"/>
                </a:lnTo>
                <a:cubicBezTo>
                  <a:pt x="4576855" y="6259204"/>
                  <a:pt x="4586011" y="6226575"/>
                  <a:pt x="4586011" y="6199416"/>
                </a:cubicBezTo>
                <a:cubicBezTo>
                  <a:pt x="4586011" y="6178582"/>
                  <a:pt x="4580657" y="6160968"/>
                  <a:pt x="4576932" y="6149561"/>
                </a:cubicBezTo>
                <a:cubicBezTo>
                  <a:pt x="4574876" y="6143256"/>
                  <a:pt x="4573169" y="6137592"/>
                  <a:pt x="4573188" y="6134954"/>
                </a:cubicBezTo>
                <a:cubicBezTo>
                  <a:pt x="4573047" y="6133559"/>
                  <a:pt x="4573346" y="6132154"/>
                  <a:pt x="4574042" y="6130938"/>
                </a:cubicBezTo>
                <a:cubicBezTo>
                  <a:pt x="4574723" y="6130207"/>
                  <a:pt x="4575633" y="6129727"/>
                  <a:pt x="4576622" y="6129580"/>
                </a:cubicBezTo>
                <a:cubicBezTo>
                  <a:pt x="4590783" y="6129580"/>
                  <a:pt x="4607660" y="6134682"/>
                  <a:pt x="4627758" y="6144265"/>
                </a:cubicBezTo>
                <a:lnTo>
                  <a:pt x="4631637" y="6146205"/>
                </a:lnTo>
                <a:lnTo>
                  <a:pt x="4629930" y="6142189"/>
                </a:lnTo>
                <a:cubicBezTo>
                  <a:pt x="4602558" y="6078173"/>
                  <a:pt x="4541626" y="6050665"/>
                  <a:pt x="4482265" y="6035689"/>
                </a:cubicBezTo>
                <a:cubicBezTo>
                  <a:pt x="4452546" y="6028162"/>
                  <a:pt x="4423157" y="6023759"/>
                  <a:pt x="4398423" y="6019491"/>
                </a:cubicBezTo>
                <a:lnTo>
                  <a:pt x="4398404" y="6019394"/>
                </a:lnTo>
                <a:cubicBezTo>
                  <a:pt x="4380401" y="6016290"/>
                  <a:pt x="4364824" y="6013206"/>
                  <a:pt x="4353514" y="6009151"/>
                </a:cubicBezTo>
                <a:cubicBezTo>
                  <a:pt x="4351574" y="6008336"/>
                  <a:pt x="4349770" y="6007483"/>
                  <a:pt x="4347947" y="6006649"/>
                </a:cubicBezTo>
                <a:cubicBezTo>
                  <a:pt x="4381856" y="6002381"/>
                  <a:pt x="4422808" y="5978481"/>
                  <a:pt x="4459142" y="5955145"/>
                </a:cubicBezTo>
                <a:cubicBezTo>
                  <a:pt x="4470578" y="5947635"/>
                  <a:pt x="4481509" y="5939387"/>
                  <a:pt x="4491868" y="5930450"/>
                </a:cubicBezTo>
                <a:cubicBezTo>
                  <a:pt x="4496291" y="5926783"/>
                  <a:pt x="4500403" y="5923369"/>
                  <a:pt x="4503895" y="5920944"/>
                </a:cubicBezTo>
                <a:cubicBezTo>
                  <a:pt x="4507387" y="5918519"/>
                  <a:pt x="4510258" y="5917064"/>
                  <a:pt x="4511655" y="5917064"/>
                </a:cubicBezTo>
                <a:cubicBezTo>
                  <a:pt x="4512968" y="5917103"/>
                  <a:pt x="4514196" y="5917720"/>
                  <a:pt x="4515011" y="5918752"/>
                </a:cubicBezTo>
                <a:cubicBezTo>
                  <a:pt x="4518347" y="5922341"/>
                  <a:pt x="4520326" y="5932331"/>
                  <a:pt x="4520268" y="5943137"/>
                </a:cubicBezTo>
                <a:cubicBezTo>
                  <a:pt x="4520274" y="5951773"/>
                  <a:pt x="4519158" y="5960374"/>
                  <a:pt x="4516951" y="5968724"/>
                </a:cubicBezTo>
                <a:lnTo>
                  <a:pt x="4515767" y="5972933"/>
                </a:lnTo>
                <a:lnTo>
                  <a:pt x="4519434" y="5970567"/>
                </a:lnTo>
                <a:cubicBezTo>
                  <a:pt x="4548280" y="5952002"/>
                  <a:pt x="4562112" y="5923893"/>
                  <a:pt x="4562112" y="5897530"/>
                </a:cubicBezTo>
                <a:cubicBezTo>
                  <a:pt x="4562112" y="5871166"/>
                  <a:pt x="4547465" y="5854619"/>
                  <a:pt x="4538018" y="5844047"/>
                </a:cubicBezTo>
                <a:cubicBezTo>
                  <a:pt x="4536563" y="5842417"/>
                  <a:pt x="4534875" y="5840497"/>
                  <a:pt x="4533517" y="5838809"/>
                </a:cubicBezTo>
                <a:cubicBezTo>
                  <a:pt x="4532701" y="5837799"/>
                  <a:pt x="4531962" y="5836729"/>
                  <a:pt x="4531306" y="5835608"/>
                </a:cubicBezTo>
                <a:cubicBezTo>
                  <a:pt x="4531828" y="5834302"/>
                  <a:pt x="4532743" y="5833190"/>
                  <a:pt x="4533925" y="5832427"/>
                </a:cubicBezTo>
                <a:cubicBezTo>
                  <a:pt x="4539977" y="5827887"/>
                  <a:pt x="4550278" y="5825094"/>
                  <a:pt x="4562247" y="5825094"/>
                </a:cubicBezTo>
                <a:cubicBezTo>
                  <a:pt x="4568721" y="5825115"/>
                  <a:pt x="4575169" y="5825870"/>
                  <a:pt x="4581472" y="5827344"/>
                </a:cubicBezTo>
                <a:lnTo>
                  <a:pt x="4585992" y="5828372"/>
                </a:lnTo>
                <a:lnTo>
                  <a:pt x="4583140" y="5824706"/>
                </a:lnTo>
                <a:cubicBezTo>
                  <a:pt x="4558329" y="5792795"/>
                  <a:pt x="4529793" y="5783619"/>
                  <a:pt x="4504361" y="5783658"/>
                </a:cubicBezTo>
                <a:cubicBezTo>
                  <a:pt x="4484341" y="5783658"/>
                  <a:pt x="4466222" y="5789245"/>
                  <a:pt x="4453012" y="5793571"/>
                </a:cubicBezTo>
                <a:cubicBezTo>
                  <a:pt x="4446571" y="5795666"/>
                  <a:pt x="4437648" y="5798440"/>
                  <a:pt x="4433826" y="5798401"/>
                </a:cubicBezTo>
                <a:cubicBezTo>
                  <a:pt x="4433475" y="5798407"/>
                  <a:pt x="4433124" y="5798374"/>
                  <a:pt x="4432779" y="5798304"/>
                </a:cubicBezTo>
                <a:cubicBezTo>
                  <a:pt x="4432779" y="5793668"/>
                  <a:pt x="4436212" y="5785811"/>
                  <a:pt x="4442594" y="5777508"/>
                </a:cubicBezTo>
                <a:cubicBezTo>
                  <a:pt x="4450436" y="5767464"/>
                  <a:pt x="4460088" y="5758977"/>
                  <a:pt x="4471053" y="5752484"/>
                </a:cubicBezTo>
                <a:lnTo>
                  <a:pt x="4475534" y="5749787"/>
                </a:lnTo>
                <a:lnTo>
                  <a:pt x="4470393" y="5749515"/>
                </a:lnTo>
                <a:cubicBezTo>
                  <a:pt x="4468124" y="5749341"/>
                  <a:pt x="4465776" y="5749263"/>
                  <a:pt x="4463429" y="5749263"/>
                </a:cubicBezTo>
                <a:cubicBezTo>
                  <a:pt x="4412196" y="5749302"/>
                  <a:pt x="4346356" y="5786374"/>
                  <a:pt x="4297742" y="5811592"/>
                </a:cubicBezTo>
                <a:cubicBezTo>
                  <a:pt x="4267402" y="5827111"/>
                  <a:pt x="4203754" y="5864105"/>
                  <a:pt x="4184607" y="5852718"/>
                </a:cubicBezTo>
                <a:cubicBezTo>
                  <a:pt x="4181407" y="5850778"/>
                  <a:pt x="4179350" y="5848838"/>
                  <a:pt x="4179350" y="5845696"/>
                </a:cubicBezTo>
                <a:cubicBezTo>
                  <a:pt x="4179350" y="5837257"/>
                  <a:pt x="4187362" y="5823755"/>
                  <a:pt x="4202202" y="5808993"/>
                </a:cubicBezTo>
                <a:cubicBezTo>
                  <a:pt x="4246587" y="5764472"/>
                  <a:pt x="4349460" y="5707129"/>
                  <a:pt x="4456019" y="5707187"/>
                </a:cubicBezTo>
                <a:close/>
                <a:moveTo>
                  <a:pt x="4456019" y="5683559"/>
                </a:moveTo>
                <a:cubicBezTo>
                  <a:pt x="4389946" y="5683559"/>
                  <a:pt x="4315531" y="5705266"/>
                  <a:pt x="4251185" y="5743269"/>
                </a:cubicBezTo>
                <a:cubicBezTo>
                  <a:pt x="4222397" y="5760379"/>
                  <a:pt x="4198672" y="5778808"/>
                  <a:pt x="4182027" y="5796500"/>
                </a:cubicBezTo>
                <a:cubicBezTo>
                  <a:pt x="4165383" y="5814192"/>
                  <a:pt x="4155839" y="5831108"/>
                  <a:pt x="4155800" y="5845676"/>
                </a:cubicBezTo>
                <a:cubicBezTo>
                  <a:pt x="4155761" y="5852703"/>
                  <a:pt x="4158600" y="5859440"/>
                  <a:pt x="4163657" y="5864319"/>
                </a:cubicBezTo>
                <a:cubicBezTo>
                  <a:pt x="4173046" y="5873572"/>
                  <a:pt x="4189690" y="5877898"/>
                  <a:pt x="4210951" y="5880129"/>
                </a:cubicBezTo>
                <a:cubicBezTo>
                  <a:pt x="4232213" y="5882360"/>
                  <a:pt x="4258130" y="5882437"/>
                  <a:pt x="4286025" y="5882437"/>
                </a:cubicBezTo>
                <a:lnTo>
                  <a:pt x="4291011" y="5882437"/>
                </a:lnTo>
                <a:cubicBezTo>
                  <a:pt x="4334018" y="5882437"/>
                  <a:pt x="4364397" y="5883601"/>
                  <a:pt x="4383835" y="5886317"/>
                </a:cubicBezTo>
                <a:cubicBezTo>
                  <a:pt x="4393534" y="5887733"/>
                  <a:pt x="4400518" y="5889595"/>
                  <a:pt x="4404844" y="5891787"/>
                </a:cubicBezTo>
                <a:cubicBezTo>
                  <a:pt x="4409170" y="5893980"/>
                  <a:pt x="4410664" y="5896210"/>
                  <a:pt x="4410664" y="5898655"/>
                </a:cubicBezTo>
                <a:cubicBezTo>
                  <a:pt x="4410664" y="5899663"/>
                  <a:pt x="4409558" y="5901933"/>
                  <a:pt x="4406900" y="5904474"/>
                </a:cubicBezTo>
                <a:cubicBezTo>
                  <a:pt x="4397608" y="5913786"/>
                  <a:pt x="4373224" y="5927598"/>
                  <a:pt x="4351283" y="5942787"/>
                </a:cubicBezTo>
                <a:cubicBezTo>
                  <a:pt x="4340824" y="5949730"/>
                  <a:pt x="4331077" y="5957690"/>
                  <a:pt x="4322185" y="5966551"/>
                </a:cubicBezTo>
                <a:cubicBezTo>
                  <a:pt x="4314425" y="5974699"/>
                  <a:pt x="4309246" y="5983040"/>
                  <a:pt x="4309168" y="5991653"/>
                </a:cubicBezTo>
                <a:lnTo>
                  <a:pt x="4309168" y="5992061"/>
                </a:lnTo>
                <a:cubicBezTo>
                  <a:pt x="4309168" y="6003002"/>
                  <a:pt x="4314988" y="6011770"/>
                  <a:pt x="4323873" y="6018540"/>
                </a:cubicBezTo>
                <a:cubicBezTo>
                  <a:pt x="4350546" y="6039006"/>
                  <a:pt x="4405795" y="6044360"/>
                  <a:pt x="4434699" y="6049579"/>
                </a:cubicBezTo>
                <a:cubicBezTo>
                  <a:pt x="4452527" y="6052818"/>
                  <a:pt x="4461974" y="6059162"/>
                  <a:pt x="4467095" y="6066048"/>
                </a:cubicBezTo>
                <a:cubicBezTo>
                  <a:pt x="4471375" y="6072279"/>
                  <a:pt x="4473501" y="6079738"/>
                  <a:pt x="4473148" y="6087290"/>
                </a:cubicBezTo>
                <a:cubicBezTo>
                  <a:pt x="4473148" y="6112063"/>
                  <a:pt x="4463953" y="6133848"/>
                  <a:pt x="4447444" y="6148882"/>
                </a:cubicBezTo>
                <a:cubicBezTo>
                  <a:pt x="4432798" y="6162461"/>
                  <a:pt x="4415106" y="6171074"/>
                  <a:pt x="4389344" y="6171113"/>
                </a:cubicBezTo>
                <a:lnTo>
                  <a:pt x="4386279" y="6171113"/>
                </a:lnTo>
                <a:cubicBezTo>
                  <a:pt x="4386875" y="6166312"/>
                  <a:pt x="4387179" y="6161480"/>
                  <a:pt x="4387191" y="6156642"/>
                </a:cubicBezTo>
                <a:cubicBezTo>
                  <a:pt x="4387133" y="6127795"/>
                  <a:pt x="4375649" y="6103372"/>
                  <a:pt x="4356191" y="6086495"/>
                </a:cubicBezTo>
                <a:cubicBezTo>
                  <a:pt x="4336792" y="6069618"/>
                  <a:pt x="4309362" y="6060112"/>
                  <a:pt x="4277626" y="6060112"/>
                </a:cubicBezTo>
                <a:cubicBezTo>
                  <a:pt x="4238459" y="6060112"/>
                  <a:pt x="4207033" y="6076369"/>
                  <a:pt x="4185500" y="6100482"/>
                </a:cubicBezTo>
                <a:cubicBezTo>
                  <a:pt x="4164173" y="6124631"/>
                  <a:pt x="4152355" y="6155712"/>
                  <a:pt x="4152250" y="6187932"/>
                </a:cubicBezTo>
                <a:cubicBezTo>
                  <a:pt x="4152250" y="6237399"/>
                  <a:pt x="4175083" y="6287100"/>
                  <a:pt x="4219545" y="6324346"/>
                </a:cubicBezTo>
                <a:cubicBezTo>
                  <a:pt x="4264008" y="6361592"/>
                  <a:pt x="4330119" y="6386422"/>
                  <a:pt x="4416697" y="6386422"/>
                </a:cubicBezTo>
                <a:cubicBezTo>
                  <a:pt x="4485311" y="6386422"/>
                  <a:pt x="4554527" y="6363764"/>
                  <a:pt x="4606904" y="6324346"/>
                </a:cubicBezTo>
                <a:cubicBezTo>
                  <a:pt x="4650299" y="6291658"/>
                  <a:pt x="4702153" y="6232084"/>
                  <a:pt x="4702133" y="6134352"/>
                </a:cubicBezTo>
                <a:cubicBezTo>
                  <a:pt x="4702133" y="6044923"/>
                  <a:pt x="4642113" y="6000732"/>
                  <a:pt x="4610493" y="5977473"/>
                </a:cubicBezTo>
                <a:cubicBezTo>
                  <a:pt x="4605086" y="5973690"/>
                  <a:pt x="4599905" y="5969597"/>
                  <a:pt x="4594973" y="5965213"/>
                </a:cubicBezTo>
                <a:cubicBezTo>
                  <a:pt x="4596603" y="5962380"/>
                  <a:pt x="4599513" y="5958016"/>
                  <a:pt x="4602132" y="5954310"/>
                </a:cubicBezTo>
                <a:cubicBezTo>
                  <a:pt x="4617321" y="5932312"/>
                  <a:pt x="4645779" y="5890682"/>
                  <a:pt x="4645779" y="5831282"/>
                </a:cubicBezTo>
                <a:cubicBezTo>
                  <a:pt x="4645985" y="5793637"/>
                  <a:pt x="4630600" y="5757585"/>
                  <a:pt x="4603276" y="5731688"/>
                </a:cubicBezTo>
                <a:cubicBezTo>
                  <a:pt x="4573208" y="5703307"/>
                  <a:pt x="4525680" y="5683559"/>
                  <a:pt x="4456019" y="5683559"/>
                </a:cubicBezTo>
                <a:close/>
                <a:moveTo>
                  <a:pt x="0" y="0"/>
                </a:moveTo>
                <a:lnTo>
                  <a:pt x="5087937" y="0"/>
                </a:lnTo>
                <a:lnTo>
                  <a:pt x="5087937" y="6857999"/>
                </a:lnTo>
                <a:lnTo>
                  <a:pt x="0" y="6857999"/>
                </a:lnTo>
                <a:close/>
              </a:path>
            </a:pathLst>
          </a:custGeom>
          <a:solidFill>
            <a:schemeClr val="bg1">
              <a:lumMod val="95000"/>
            </a:schemeClr>
          </a:solidFill>
        </p:spPr>
        <p:txBody>
          <a:bodyPr wrap="square">
            <a:noAutofit/>
          </a:bodyPr>
          <a:lstStyle/>
          <a:p>
            <a:r>
              <a:rPr lang="sv-SE"/>
              <a:t>Klicka på ikonen för att lägga till en bild</a:t>
            </a: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p>
            <a:fld id="{7B8F12AD-2BC7-4611-A389-A5CC36C89132}" type="datetime1">
              <a:rPr lang="sv-SE" smtClean="0"/>
              <a:t>2024-08-20</a:t>
            </a:fld>
            <a:endParaRPr lang="sv-SE" dirty="0"/>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p>
            <a:r>
              <a:rPr lang="sv-SE" dirty="0"/>
              <a:t>Namn på presentation</a:t>
            </a:r>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p>
            <a:fld id="{AE086683-F536-42AB-ABBC-F4803DFE8DBC}" type="slidenum">
              <a:rPr lang="sv-SE" smtClean="0"/>
              <a:t>‹#›</a:t>
            </a:fld>
            <a:endParaRPr lang="sv-SE" dirty="0"/>
          </a:p>
        </p:txBody>
      </p:sp>
      <p:sp>
        <p:nvSpPr>
          <p:cNvPr id="2" name="Title 1">
            <a:extLst>
              <a:ext uri="{FF2B5EF4-FFF2-40B4-BE49-F238E27FC236}">
                <a16:creationId xmlns:a16="http://schemas.microsoft.com/office/drawing/2014/main" id="{4A9A3387-BEF1-491B-8E5C-D58164F3D28D}"/>
              </a:ext>
            </a:extLst>
          </p:cNvPr>
          <p:cNvSpPr>
            <a:spLocks noGrp="1"/>
          </p:cNvSpPr>
          <p:nvPr>
            <p:ph type="title"/>
          </p:nvPr>
        </p:nvSpPr>
        <p:spPr>
          <a:xfrm>
            <a:off x="803276" y="1088502"/>
            <a:ext cx="5684538" cy="900112"/>
          </a:xfrm>
        </p:spPr>
        <p:txBody>
          <a:bodyPr/>
          <a:lstStyle/>
          <a:p>
            <a:r>
              <a:rPr lang="sv-SE"/>
              <a:t>Klicka här för att ändra mall för rubrikformat</a:t>
            </a:r>
            <a:endParaRPr lang="sv-SE" dirty="0"/>
          </a:p>
        </p:txBody>
      </p:sp>
      <p:sp>
        <p:nvSpPr>
          <p:cNvPr id="27" name="Text Placeholder 7">
            <a:extLst>
              <a:ext uri="{FF2B5EF4-FFF2-40B4-BE49-F238E27FC236}">
                <a16:creationId xmlns:a16="http://schemas.microsoft.com/office/drawing/2014/main" id="{757B06DE-E9DD-422C-AF50-88481BBF30F5}"/>
              </a:ext>
            </a:extLst>
          </p:cNvPr>
          <p:cNvSpPr>
            <a:spLocks noGrp="1"/>
          </p:cNvSpPr>
          <p:nvPr>
            <p:ph type="body" sz="quarter" idx="15"/>
          </p:nvPr>
        </p:nvSpPr>
        <p:spPr>
          <a:xfrm>
            <a:off x="803275" y="2205038"/>
            <a:ext cx="5684538" cy="396081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29993600"/>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Utfallande bild">
    <p:spTree>
      <p:nvGrpSpPr>
        <p:cNvPr id="1" name=""/>
        <p:cNvGrpSpPr/>
        <p:nvPr/>
      </p:nvGrpSpPr>
      <p:grpSpPr>
        <a:xfrm>
          <a:off x="0" y="0"/>
          <a:ext cx="0" cy="0"/>
          <a:chOff x="0" y="0"/>
          <a:chExt cx="0" cy="0"/>
        </a:xfrm>
      </p:grpSpPr>
      <p:sp>
        <p:nvSpPr>
          <p:cNvPr id="25" name="Platshållare för bild 24">
            <a:extLst>
              <a:ext uri="{FF2B5EF4-FFF2-40B4-BE49-F238E27FC236}">
                <a16:creationId xmlns:a16="http://schemas.microsoft.com/office/drawing/2014/main" id="{B72F16EB-B53A-407D-BCD1-2EF642A611E6}"/>
              </a:ext>
            </a:extLst>
          </p:cNvPr>
          <p:cNvSpPr>
            <a:spLocks noGrp="1"/>
          </p:cNvSpPr>
          <p:nvPr>
            <p:ph type="pic" sz="quarter" idx="18"/>
          </p:nvPr>
        </p:nvSpPr>
        <p:spPr>
          <a:xfrm>
            <a:off x="-1" y="0"/>
            <a:ext cx="12192000" cy="6858001"/>
          </a:xfrm>
          <a:custGeom>
            <a:avLst/>
            <a:gdLst>
              <a:gd name="connsiteX0" fmla="*/ 11691026 w 12192000"/>
              <a:gd name="connsiteY0" fmla="*/ 6510557 h 6858001"/>
              <a:gd name="connsiteX1" fmla="*/ 11691006 w 12192000"/>
              <a:gd name="connsiteY1" fmla="*/ 6519248 h 6858001"/>
              <a:gd name="connsiteX2" fmla="*/ 11672131 w 12192000"/>
              <a:gd name="connsiteY2" fmla="*/ 6538802 h 6858001"/>
              <a:gd name="connsiteX3" fmla="*/ 11657834 w 12192000"/>
              <a:gd name="connsiteY3" fmla="*/ 6527958 h 6858001"/>
              <a:gd name="connsiteX4" fmla="*/ 11671627 w 12192000"/>
              <a:gd name="connsiteY4" fmla="*/ 6515485 h 6858001"/>
              <a:gd name="connsiteX5" fmla="*/ 11691026 w 12192000"/>
              <a:gd name="connsiteY5" fmla="*/ 6510557 h 6858001"/>
              <a:gd name="connsiteX6" fmla="*/ 11763345 w 12192000"/>
              <a:gd name="connsiteY6" fmla="*/ 6482487 h 6858001"/>
              <a:gd name="connsiteX7" fmla="*/ 11783209 w 12192000"/>
              <a:gd name="connsiteY7" fmla="*/ 6508579 h 6858001"/>
              <a:gd name="connsiteX8" fmla="*/ 11763345 w 12192000"/>
              <a:gd name="connsiteY8" fmla="*/ 6532071 h 6858001"/>
              <a:gd name="connsiteX9" fmla="*/ 11744469 w 12192000"/>
              <a:gd name="connsiteY9" fmla="*/ 6506620 h 6858001"/>
              <a:gd name="connsiteX10" fmla="*/ 11763345 w 12192000"/>
              <a:gd name="connsiteY10" fmla="*/ 6482487 h 6858001"/>
              <a:gd name="connsiteX11" fmla="*/ 11531973 w 12192000"/>
              <a:gd name="connsiteY11" fmla="*/ 6482487 h 6858001"/>
              <a:gd name="connsiteX12" fmla="*/ 11550537 w 12192000"/>
              <a:gd name="connsiteY12" fmla="*/ 6500548 h 6858001"/>
              <a:gd name="connsiteX13" fmla="*/ 11512574 w 12192000"/>
              <a:gd name="connsiteY13" fmla="*/ 6500548 h 6858001"/>
              <a:gd name="connsiteX14" fmla="*/ 11531973 w 12192000"/>
              <a:gd name="connsiteY14" fmla="*/ 6482487 h 6858001"/>
              <a:gd name="connsiteX15" fmla="*/ 11383473 w 12192000"/>
              <a:gd name="connsiteY15" fmla="*/ 6482410 h 6858001"/>
              <a:gd name="connsiteX16" fmla="*/ 11404153 w 12192000"/>
              <a:gd name="connsiteY16" fmla="*/ 6509665 h 6858001"/>
              <a:gd name="connsiteX17" fmla="*/ 11383473 w 12192000"/>
              <a:gd name="connsiteY17" fmla="*/ 6536824 h 6858001"/>
              <a:gd name="connsiteX18" fmla="*/ 11362949 w 12192000"/>
              <a:gd name="connsiteY18" fmla="*/ 6509665 h 6858001"/>
              <a:gd name="connsiteX19" fmla="*/ 11383473 w 12192000"/>
              <a:gd name="connsiteY19" fmla="*/ 6482410 h 6858001"/>
              <a:gd name="connsiteX20" fmla="*/ 11757661 w 12192000"/>
              <a:gd name="connsiteY20" fmla="*/ 6464970 h 6858001"/>
              <a:gd name="connsiteX21" fmla="*/ 11721210 w 12192000"/>
              <a:gd name="connsiteY21" fmla="*/ 6507008 h 6858001"/>
              <a:gd name="connsiteX22" fmla="*/ 11757486 w 12192000"/>
              <a:gd name="connsiteY22" fmla="*/ 6549685 h 6858001"/>
              <a:gd name="connsiteX23" fmla="*/ 11782938 w 12192000"/>
              <a:gd name="connsiteY23" fmla="*/ 6536552 h 6858001"/>
              <a:gd name="connsiteX24" fmla="*/ 11783267 w 12192000"/>
              <a:gd name="connsiteY24" fmla="*/ 6536552 h 6858001"/>
              <a:gd name="connsiteX25" fmla="*/ 11783267 w 12192000"/>
              <a:gd name="connsiteY25" fmla="*/ 6547707 h 6858001"/>
              <a:gd name="connsiteX26" fmla="*/ 11764547 w 12192000"/>
              <a:gd name="connsiteY26" fmla="*/ 6568716 h 6858001"/>
              <a:gd name="connsiteX27" fmla="*/ 11747088 w 12192000"/>
              <a:gd name="connsiteY27" fmla="*/ 6557076 h 6858001"/>
              <a:gd name="connsiteX28" fmla="*/ 11723945 w 12192000"/>
              <a:gd name="connsiteY28" fmla="*/ 6557076 h 6858001"/>
              <a:gd name="connsiteX29" fmla="*/ 11761366 w 12192000"/>
              <a:gd name="connsiteY29" fmla="*/ 6584332 h 6858001"/>
              <a:gd name="connsiteX30" fmla="*/ 11805363 w 12192000"/>
              <a:gd name="connsiteY30" fmla="*/ 6546737 h 6858001"/>
              <a:gd name="connsiteX31" fmla="*/ 11805363 w 12192000"/>
              <a:gd name="connsiteY31" fmla="*/ 6467278 h 6858001"/>
              <a:gd name="connsiteX32" fmla="*/ 11783209 w 12192000"/>
              <a:gd name="connsiteY32" fmla="*/ 6467278 h 6858001"/>
              <a:gd name="connsiteX33" fmla="*/ 11783209 w 12192000"/>
              <a:gd name="connsiteY33" fmla="*/ 6478549 h 6858001"/>
              <a:gd name="connsiteX34" fmla="*/ 11782879 w 12192000"/>
              <a:gd name="connsiteY34" fmla="*/ 6478549 h 6858001"/>
              <a:gd name="connsiteX35" fmla="*/ 11757661 w 12192000"/>
              <a:gd name="connsiteY35" fmla="*/ 6464970 h 6858001"/>
              <a:gd name="connsiteX36" fmla="*/ 11677020 w 12192000"/>
              <a:gd name="connsiteY36" fmla="*/ 6464931 h 6858001"/>
              <a:gd name="connsiteX37" fmla="*/ 11637116 w 12192000"/>
              <a:gd name="connsiteY37" fmla="*/ 6493331 h 6858001"/>
              <a:gd name="connsiteX38" fmla="*/ 11660395 w 12192000"/>
              <a:gd name="connsiteY38" fmla="*/ 6493331 h 6858001"/>
              <a:gd name="connsiteX39" fmla="*/ 11675914 w 12192000"/>
              <a:gd name="connsiteY39" fmla="*/ 6480528 h 6858001"/>
              <a:gd name="connsiteX40" fmla="*/ 11691026 w 12192000"/>
              <a:gd name="connsiteY40" fmla="*/ 6492012 h 6858001"/>
              <a:gd name="connsiteX41" fmla="*/ 11663440 w 12192000"/>
              <a:gd name="connsiteY41" fmla="*/ 6503166 h 6858001"/>
              <a:gd name="connsiteX42" fmla="*/ 11634594 w 12192000"/>
              <a:gd name="connsiteY42" fmla="*/ 6528948 h 6858001"/>
              <a:gd name="connsiteX43" fmla="*/ 11663479 w 12192000"/>
              <a:gd name="connsiteY43" fmla="*/ 6554399 h 6858001"/>
              <a:gd name="connsiteX44" fmla="*/ 11692054 w 12192000"/>
              <a:gd name="connsiteY44" fmla="*/ 6543885 h 6858001"/>
              <a:gd name="connsiteX45" fmla="*/ 11693683 w 12192000"/>
              <a:gd name="connsiteY45" fmla="*/ 6552091 h 6858001"/>
              <a:gd name="connsiteX46" fmla="*/ 11717234 w 12192000"/>
              <a:gd name="connsiteY46" fmla="*/ 6552091 h 6858001"/>
              <a:gd name="connsiteX47" fmla="*/ 11714285 w 12192000"/>
              <a:gd name="connsiteY47" fmla="*/ 6533215 h 6858001"/>
              <a:gd name="connsiteX48" fmla="*/ 11714285 w 12192000"/>
              <a:gd name="connsiteY48" fmla="*/ 6489063 h 6858001"/>
              <a:gd name="connsiteX49" fmla="*/ 11677020 w 12192000"/>
              <a:gd name="connsiteY49" fmla="*/ 6464931 h 6858001"/>
              <a:gd name="connsiteX50" fmla="*/ 11532593 w 12192000"/>
              <a:gd name="connsiteY50" fmla="*/ 6464912 h 6858001"/>
              <a:gd name="connsiteX51" fmla="*/ 11489256 w 12192000"/>
              <a:gd name="connsiteY51" fmla="*/ 6509724 h 6858001"/>
              <a:gd name="connsiteX52" fmla="*/ 11532593 w 12192000"/>
              <a:gd name="connsiteY52" fmla="*/ 6554341 h 6858001"/>
              <a:gd name="connsiteX53" fmla="*/ 11572322 w 12192000"/>
              <a:gd name="connsiteY53" fmla="*/ 6525786 h 6858001"/>
              <a:gd name="connsiteX54" fmla="*/ 11551798 w 12192000"/>
              <a:gd name="connsiteY54" fmla="*/ 6525786 h 6858001"/>
              <a:gd name="connsiteX55" fmla="*/ 11533427 w 12192000"/>
              <a:gd name="connsiteY55" fmla="*/ 6536785 h 6858001"/>
              <a:gd name="connsiteX56" fmla="*/ 11512574 w 12192000"/>
              <a:gd name="connsiteY56" fmla="*/ 6515272 h 6858001"/>
              <a:gd name="connsiteX57" fmla="*/ 11573797 w 12192000"/>
              <a:gd name="connsiteY57" fmla="*/ 6515272 h 6858001"/>
              <a:gd name="connsiteX58" fmla="*/ 11532593 w 12192000"/>
              <a:gd name="connsiteY58" fmla="*/ 6464912 h 6858001"/>
              <a:gd name="connsiteX59" fmla="*/ 11484290 w 12192000"/>
              <a:gd name="connsiteY59" fmla="*/ 6464912 h 6858001"/>
              <a:gd name="connsiteX60" fmla="*/ 11457132 w 12192000"/>
              <a:gd name="connsiteY60" fmla="*/ 6482972 h 6858001"/>
              <a:gd name="connsiteX61" fmla="*/ 11456802 w 12192000"/>
              <a:gd name="connsiteY61" fmla="*/ 6482972 h 6858001"/>
              <a:gd name="connsiteX62" fmla="*/ 11456802 w 12192000"/>
              <a:gd name="connsiteY62" fmla="*/ 6467279 h 6858001"/>
              <a:gd name="connsiteX63" fmla="*/ 11434784 w 12192000"/>
              <a:gd name="connsiteY63" fmla="*/ 6467279 h 6858001"/>
              <a:gd name="connsiteX64" fmla="*/ 11434784 w 12192000"/>
              <a:gd name="connsiteY64" fmla="*/ 6552149 h 6858001"/>
              <a:gd name="connsiteX65" fmla="*/ 11458063 w 12192000"/>
              <a:gd name="connsiteY65" fmla="*/ 6552149 h 6858001"/>
              <a:gd name="connsiteX66" fmla="*/ 11458063 w 12192000"/>
              <a:gd name="connsiteY66" fmla="*/ 6513836 h 6858001"/>
              <a:gd name="connsiteX67" fmla="*/ 11481051 w 12192000"/>
              <a:gd name="connsiteY67" fmla="*/ 6486678 h 6858001"/>
              <a:gd name="connsiteX68" fmla="*/ 11489431 w 12192000"/>
              <a:gd name="connsiteY68" fmla="*/ 6487492 h 6858001"/>
              <a:gd name="connsiteX69" fmla="*/ 11489392 w 12192000"/>
              <a:gd name="connsiteY69" fmla="*/ 6465746 h 6858001"/>
              <a:gd name="connsiteX70" fmla="*/ 11484290 w 12192000"/>
              <a:gd name="connsiteY70" fmla="*/ 6464912 h 6858001"/>
              <a:gd name="connsiteX71" fmla="*/ 11383473 w 12192000"/>
              <a:gd name="connsiteY71" fmla="*/ 6464912 h 6858001"/>
              <a:gd name="connsiteX72" fmla="*/ 11339651 w 12192000"/>
              <a:gd name="connsiteY72" fmla="*/ 6509724 h 6858001"/>
              <a:gd name="connsiteX73" fmla="*/ 11383473 w 12192000"/>
              <a:gd name="connsiteY73" fmla="*/ 6554341 h 6858001"/>
              <a:gd name="connsiteX74" fmla="*/ 11427470 w 12192000"/>
              <a:gd name="connsiteY74" fmla="*/ 6509724 h 6858001"/>
              <a:gd name="connsiteX75" fmla="*/ 11383473 w 12192000"/>
              <a:gd name="connsiteY75" fmla="*/ 6464912 h 6858001"/>
              <a:gd name="connsiteX76" fmla="*/ 11589044 w 12192000"/>
              <a:gd name="connsiteY76" fmla="*/ 6441769 h 6858001"/>
              <a:gd name="connsiteX77" fmla="*/ 11589044 w 12192000"/>
              <a:gd name="connsiteY77" fmla="*/ 6467279 h 6858001"/>
              <a:gd name="connsiteX78" fmla="*/ 11574922 w 12192000"/>
              <a:gd name="connsiteY78" fmla="*/ 6467279 h 6858001"/>
              <a:gd name="connsiteX79" fmla="*/ 11574922 w 12192000"/>
              <a:gd name="connsiteY79" fmla="*/ 6482798 h 6858001"/>
              <a:gd name="connsiteX80" fmla="*/ 11589044 w 12192000"/>
              <a:gd name="connsiteY80" fmla="*/ 6482798 h 6858001"/>
              <a:gd name="connsiteX81" fmla="*/ 11589044 w 12192000"/>
              <a:gd name="connsiteY81" fmla="*/ 6532867 h 6858001"/>
              <a:gd name="connsiteX82" fmla="*/ 11615796 w 12192000"/>
              <a:gd name="connsiteY82" fmla="*/ 6553061 h 6858001"/>
              <a:gd name="connsiteX83" fmla="*/ 11629375 w 12192000"/>
              <a:gd name="connsiteY83" fmla="*/ 6552246 h 6858001"/>
              <a:gd name="connsiteX84" fmla="*/ 11629375 w 12192000"/>
              <a:gd name="connsiteY84" fmla="*/ 6534011 h 6858001"/>
              <a:gd name="connsiteX85" fmla="*/ 11622158 w 12192000"/>
              <a:gd name="connsiteY85" fmla="*/ 6534671 h 6858001"/>
              <a:gd name="connsiteX86" fmla="*/ 11612304 w 12192000"/>
              <a:gd name="connsiteY86" fmla="*/ 6524816 h 6858001"/>
              <a:gd name="connsiteX87" fmla="*/ 11612304 w 12192000"/>
              <a:gd name="connsiteY87" fmla="*/ 6482798 h 6858001"/>
              <a:gd name="connsiteX88" fmla="*/ 11629375 w 12192000"/>
              <a:gd name="connsiteY88" fmla="*/ 6482798 h 6858001"/>
              <a:gd name="connsiteX89" fmla="*/ 11629375 w 12192000"/>
              <a:gd name="connsiteY89" fmla="*/ 6467279 h 6858001"/>
              <a:gd name="connsiteX90" fmla="*/ 11612304 w 12192000"/>
              <a:gd name="connsiteY90" fmla="*/ 6467279 h 6858001"/>
              <a:gd name="connsiteX91" fmla="*/ 11612323 w 12192000"/>
              <a:gd name="connsiteY91" fmla="*/ 6441769 h 6858001"/>
              <a:gd name="connsiteX92" fmla="*/ 11389390 w 12192000"/>
              <a:gd name="connsiteY92" fmla="*/ 6434882 h 6858001"/>
              <a:gd name="connsiteX93" fmla="*/ 11389390 w 12192000"/>
              <a:gd name="connsiteY93" fmla="*/ 6454087 h 6858001"/>
              <a:gd name="connsiteX94" fmla="*/ 11411544 w 12192000"/>
              <a:gd name="connsiteY94" fmla="*/ 6454087 h 6858001"/>
              <a:gd name="connsiteX95" fmla="*/ 11411544 w 12192000"/>
              <a:gd name="connsiteY95" fmla="*/ 6434882 h 6858001"/>
              <a:gd name="connsiteX96" fmla="*/ 11355578 w 12192000"/>
              <a:gd name="connsiteY96" fmla="*/ 6434882 h 6858001"/>
              <a:gd name="connsiteX97" fmla="*/ 11355578 w 12192000"/>
              <a:gd name="connsiteY97" fmla="*/ 6454087 h 6858001"/>
              <a:gd name="connsiteX98" fmla="*/ 11377732 w 12192000"/>
              <a:gd name="connsiteY98" fmla="*/ 6454087 h 6858001"/>
              <a:gd name="connsiteX99" fmla="*/ 11377732 w 12192000"/>
              <a:gd name="connsiteY99" fmla="*/ 6434882 h 6858001"/>
              <a:gd name="connsiteX100" fmla="*/ 11257148 w 12192000"/>
              <a:gd name="connsiteY100" fmla="*/ 6434882 h 6858001"/>
              <a:gd name="connsiteX101" fmla="*/ 11257148 w 12192000"/>
              <a:gd name="connsiteY101" fmla="*/ 6552091 h 6858001"/>
              <a:gd name="connsiteX102" fmla="*/ 11282929 w 12192000"/>
              <a:gd name="connsiteY102" fmla="*/ 6552091 h 6858001"/>
              <a:gd name="connsiteX103" fmla="*/ 11282929 w 12192000"/>
              <a:gd name="connsiteY103" fmla="*/ 6503671 h 6858001"/>
              <a:gd name="connsiteX104" fmla="*/ 11332009 w 12192000"/>
              <a:gd name="connsiteY104" fmla="*/ 6503671 h 6858001"/>
              <a:gd name="connsiteX105" fmla="*/ 11332009 w 12192000"/>
              <a:gd name="connsiteY105" fmla="*/ 6483651 h 6858001"/>
              <a:gd name="connsiteX106" fmla="*/ 11282929 w 12192000"/>
              <a:gd name="connsiteY106" fmla="*/ 6483651 h 6858001"/>
              <a:gd name="connsiteX107" fmla="*/ 11282929 w 12192000"/>
              <a:gd name="connsiteY107" fmla="*/ 6456551 h 6858001"/>
              <a:gd name="connsiteX108" fmla="*/ 11339574 w 12192000"/>
              <a:gd name="connsiteY108" fmla="*/ 6456551 h 6858001"/>
              <a:gd name="connsiteX109" fmla="*/ 11339574 w 12192000"/>
              <a:gd name="connsiteY109" fmla="*/ 6434882 h 6858001"/>
              <a:gd name="connsiteX110" fmla="*/ 11587492 w 12192000"/>
              <a:gd name="connsiteY110" fmla="*/ 6050764 h 6858001"/>
              <a:gd name="connsiteX111" fmla="*/ 11707165 w 12192000"/>
              <a:gd name="connsiteY111" fmla="*/ 6120600 h 6858001"/>
              <a:gd name="connsiteX112" fmla="*/ 11678609 w 12192000"/>
              <a:gd name="connsiteY112" fmla="*/ 6115712 h 6858001"/>
              <a:gd name="connsiteX113" fmla="*/ 11663265 w 12192000"/>
              <a:gd name="connsiteY113" fmla="*/ 6134897 h 6858001"/>
              <a:gd name="connsiteX114" fmla="*/ 11667707 w 12192000"/>
              <a:gd name="connsiteY114" fmla="*/ 6153831 h 6858001"/>
              <a:gd name="connsiteX115" fmla="*/ 11676437 w 12192000"/>
              <a:gd name="connsiteY115" fmla="*/ 6198759 h 6858001"/>
              <a:gd name="connsiteX116" fmla="*/ 11659172 w 12192000"/>
              <a:gd name="connsiteY116" fmla="*/ 6255947 h 6858001"/>
              <a:gd name="connsiteX117" fmla="*/ 11648153 w 12192000"/>
              <a:gd name="connsiteY117" fmla="*/ 6217537 h 6858001"/>
              <a:gd name="connsiteX118" fmla="*/ 11635078 w 12192000"/>
              <a:gd name="connsiteY118" fmla="*/ 6210398 h 6858001"/>
              <a:gd name="connsiteX119" fmla="*/ 11621829 w 12192000"/>
              <a:gd name="connsiteY119" fmla="*/ 6217246 h 6858001"/>
              <a:gd name="connsiteX120" fmla="*/ 11611722 w 12192000"/>
              <a:gd name="connsiteY120" fmla="*/ 6233328 h 6858001"/>
              <a:gd name="connsiteX121" fmla="*/ 11517326 w 12192000"/>
              <a:gd name="connsiteY121" fmla="*/ 6310555 h 6858001"/>
              <a:gd name="connsiteX122" fmla="*/ 11525862 w 12192000"/>
              <a:gd name="connsiteY122" fmla="*/ 6283047 h 6858001"/>
              <a:gd name="connsiteX123" fmla="*/ 11524387 w 12192000"/>
              <a:gd name="connsiteY123" fmla="*/ 6274648 h 6858001"/>
              <a:gd name="connsiteX124" fmla="*/ 11513679 w 12192000"/>
              <a:gd name="connsiteY124" fmla="*/ 6267082 h 6858001"/>
              <a:gd name="connsiteX125" fmla="*/ 11513524 w 12192000"/>
              <a:gd name="connsiteY125" fmla="*/ 6267082 h 6858001"/>
              <a:gd name="connsiteX126" fmla="*/ 11489721 w 12192000"/>
              <a:gd name="connsiteY126" fmla="*/ 6272106 h 6858001"/>
              <a:gd name="connsiteX127" fmla="*/ 11439090 w 12192000"/>
              <a:gd name="connsiteY127" fmla="*/ 6281049 h 6858001"/>
              <a:gd name="connsiteX128" fmla="*/ 11375714 w 12192000"/>
              <a:gd name="connsiteY128" fmla="*/ 6259128 h 6858001"/>
              <a:gd name="connsiteX129" fmla="*/ 11395113 w 12192000"/>
              <a:gd name="connsiteY129" fmla="*/ 6251039 h 6858001"/>
              <a:gd name="connsiteX130" fmla="*/ 11401747 w 12192000"/>
              <a:gd name="connsiteY130" fmla="*/ 6238236 h 6858001"/>
              <a:gd name="connsiteX131" fmla="*/ 11389448 w 12192000"/>
              <a:gd name="connsiteY131" fmla="*/ 6220039 h 6858001"/>
              <a:gd name="connsiteX132" fmla="*/ 11368672 w 12192000"/>
              <a:gd name="connsiteY132" fmla="*/ 6182890 h 6858001"/>
              <a:gd name="connsiteX133" fmla="*/ 11371873 w 12192000"/>
              <a:gd name="connsiteY133" fmla="*/ 6165431 h 6858001"/>
              <a:gd name="connsiteX134" fmla="*/ 11380602 w 12192000"/>
              <a:gd name="connsiteY134" fmla="*/ 6180407 h 6858001"/>
              <a:gd name="connsiteX135" fmla="*/ 11400001 w 12192000"/>
              <a:gd name="connsiteY135" fmla="*/ 6190495 h 6858001"/>
              <a:gd name="connsiteX136" fmla="*/ 11413134 w 12192000"/>
              <a:gd name="connsiteY136" fmla="*/ 6182871 h 6858001"/>
              <a:gd name="connsiteX137" fmla="*/ 11414919 w 12192000"/>
              <a:gd name="connsiteY137" fmla="*/ 6169854 h 6858001"/>
              <a:gd name="connsiteX138" fmla="*/ 11420196 w 12192000"/>
              <a:gd name="connsiteY138" fmla="*/ 6158215 h 6858001"/>
              <a:gd name="connsiteX139" fmla="*/ 11432592 w 12192000"/>
              <a:gd name="connsiteY139" fmla="*/ 6153016 h 6858001"/>
              <a:gd name="connsiteX140" fmla="*/ 11456433 w 12192000"/>
              <a:gd name="connsiteY140" fmla="*/ 6167488 h 6858001"/>
              <a:gd name="connsiteX141" fmla="*/ 11464774 w 12192000"/>
              <a:gd name="connsiteY141" fmla="*/ 6198526 h 6858001"/>
              <a:gd name="connsiteX142" fmla="*/ 11461477 w 12192000"/>
              <a:gd name="connsiteY142" fmla="*/ 6216955 h 6858001"/>
              <a:gd name="connsiteX143" fmla="*/ 11459090 w 12192000"/>
              <a:gd name="connsiteY143" fmla="*/ 6222775 h 6858001"/>
              <a:gd name="connsiteX144" fmla="*/ 11463998 w 12192000"/>
              <a:gd name="connsiteY144" fmla="*/ 6218895 h 6858001"/>
              <a:gd name="connsiteX145" fmla="*/ 11483979 w 12192000"/>
              <a:gd name="connsiteY145" fmla="*/ 6193890 h 6858001"/>
              <a:gd name="connsiteX146" fmla="*/ 11491390 w 12192000"/>
              <a:gd name="connsiteY146" fmla="*/ 6194064 h 6858001"/>
              <a:gd name="connsiteX147" fmla="*/ 11491390 w 12192000"/>
              <a:gd name="connsiteY147" fmla="*/ 6193987 h 6858001"/>
              <a:gd name="connsiteX148" fmla="*/ 11567473 w 12192000"/>
              <a:gd name="connsiteY148" fmla="*/ 6166479 h 6858001"/>
              <a:gd name="connsiteX149" fmla="*/ 11600645 w 12192000"/>
              <a:gd name="connsiteY149" fmla="*/ 6087447 h 6858001"/>
              <a:gd name="connsiteX150" fmla="*/ 11587492 w 12192000"/>
              <a:gd name="connsiteY150" fmla="*/ 6050764 h 6858001"/>
              <a:gd name="connsiteX151" fmla="*/ 11538859 w 12192000"/>
              <a:gd name="connsiteY151" fmla="*/ 5766142 h 6858001"/>
              <a:gd name="connsiteX152" fmla="*/ 11522370 w 12192000"/>
              <a:gd name="connsiteY152" fmla="*/ 5801410 h 6858001"/>
              <a:gd name="connsiteX153" fmla="*/ 11525299 w 12192000"/>
              <a:gd name="connsiteY153" fmla="*/ 5809305 h 6858001"/>
              <a:gd name="connsiteX154" fmla="*/ 11535193 w 12192000"/>
              <a:gd name="connsiteY154" fmla="*/ 5813049 h 6858001"/>
              <a:gd name="connsiteX155" fmla="*/ 11561478 w 12192000"/>
              <a:gd name="connsiteY155" fmla="*/ 5806900 h 6858001"/>
              <a:gd name="connsiteX156" fmla="*/ 11607784 w 12192000"/>
              <a:gd name="connsiteY156" fmla="*/ 5797375 h 6858001"/>
              <a:gd name="connsiteX157" fmla="*/ 11656184 w 12192000"/>
              <a:gd name="connsiteY157" fmla="*/ 5812758 h 6858001"/>
              <a:gd name="connsiteX158" fmla="*/ 11629472 w 12192000"/>
              <a:gd name="connsiteY158" fmla="*/ 5821488 h 6858001"/>
              <a:gd name="connsiteX159" fmla="*/ 11621576 w 12192000"/>
              <a:gd name="connsiteY159" fmla="*/ 5835843 h 6858001"/>
              <a:gd name="connsiteX160" fmla="*/ 11631606 w 12192000"/>
              <a:gd name="connsiteY160" fmla="*/ 5853302 h 6858001"/>
              <a:gd name="connsiteX161" fmla="*/ 11652149 w 12192000"/>
              <a:gd name="connsiteY161" fmla="*/ 5897609 h 6858001"/>
              <a:gd name="connsiteX162" fmla="*/ 11637445 w 12192000"/>
              <a:gd name="connsiteY162" fmla="*/ 5941936 h 6858001"/>
              <a:gd name="connsiteX163" fmla="*/ 11637445 w 12192000"/>
              <a:gd name="connsiteY163" fmla="*/ 5939201 h 6858001"/>
              <a:gd name="connsiteX164" fmla="*/ 11629181 w 12192000"/>
              <a:gd name="connsiteY164" fmla="*/ 5909481 h 6858001"/>
              <a:gd name="connsiteX165" fmla="*/ 11615601 w 12192000"/>
              <a:gd name="connsiteY165" fmla="*/ 5903196 h 6858001"/>
              <a:gd name="connsiteX166" fmla="*/ 11587085 w 12192000"/>
              <a:gd name="connsiteY166" fmla="*/ 5919763 h 6858001"/>
              <a:gd name="connsiteX167" fmla="*/ 11555639 w 12192000"/>
              <a:gd name="connsiteY167" fmla="*/ 5943391 h 6858001"/>
              <a:gd name="connsiteX168" fmla="*/ 11451176 w 12192000"/>
              <a:gd name="connsiteY168" fmla="*/ 5992742 h 6858001"/>
              <a:gd name="connsiteX169" fmla="*/ 11441437 w 12192000"/>
              <a:gd name="connsiteY169" fmla="*/ 5983857 h 6858001"/>
              <a:gd name="connsiteX170" fmla="*/ 11485609 w 12192000"/>
              <a:gd name="connsiteY170" fmla="*/ 5951344 h 6858001"/>
              <a:gd name="connsiteX171" fmla="*/ 11522642 w 12192000"/>
              <a:gd name="connsiteY171" fmla="*/ 5925389 h 6858001"/>
              <a:gd name="connsiteX172" fmla="*/ 11538374 w 12192000"/>
              <a:gd name="connsiteY172" fmla="*/ 5898754 h 6858001"/>
              <a:gd name="connsiteX173" fmla="*/ 11529839 w 12192000"/>
              <a:gd name="connsiteY173" fmla="*/ 5878346 h 6858001"/>
              <a:gd name="connsiteX174" fmla="*/ 11479537 w 12192000"/>
              <a:gd name="connsiteY174" fmla="*/ 5861275 h 6858001"/>
              <a:gd name="connsiteX175" fmla="*/ 11402562 w 12192000"/>
              <a:gd name="connsiteY175" fmla="*/ 5858734 h 6858001"/>
              <a:gd name="connsiteX176" fmla="*/ 11394938 w 12192000"/>
              <a:gd name="connsiteY176" fmla="*/ 5858734 h 6858001"/>
              <a:gd name="connsiteX177" fmla="*/ 11339185 w 12192000"/>
              <a:gd name="connsiteY177" fmla="*/ 5857822 h 6858001"/>
              <a:gd name="connsiteX178" fmla="*/ 11408382 w 12192000"/>
              <a:gd name="connsiteY178" fmla="*/ 5823816 h 6858001"/>
              <a:gd name="connsiteX179" fmla="*/ 11538859 w 12192000"/>
              <a:gd name="connsiteY179" fmla="*/ 5766142 h 6858001"/>
              <a:gd name="connsiteX180" fmla="*/ 11560082 w 12192000"/>
              <a:gd name="connsiteY180" fmla="*/ 5707189 h 6858001"/>
              <a:gd name="connsiteX181" fmla="*/ 11686931 w 12192000"/>
              <a:gd name="connsiteY181" fmla="*/ 5745386 h 6858001"/>
              <a:gd name="connsiteX182" fmla="*/ 11726059 w 12192000"/>
              <a:gd name="connsiteY182" fmla="*/ 5831342 h 6858001"/>
              <a:gd name="connsiteX183" fmla="*/ 11686582 w 12192000"/>
              <a:gd name="connsiteY183" fmla="*/ 5941102 h 6858001"/>
              <a:gd name="connsiteX184" fmla="*/ 11674342 w 12192000"/>
              <a:gd name="connsiteY184" fmla="*/ 5965913 h 6858001"/>
              <a:gd name="connsiteX185" fmla="*/ 11681655 w 12192000"/>
              <a:gd name="connsiteY185" fmla="*/ 5981277 h 6858001"/>
              <a:gd name="connsiteX186" fmla="*/ 11700453 w 12192000"/>
              <a:gd name="connsiteY186" fmla="*/ 5996486 h 6858001"/>
              <a:gd name="connsiteX187" fmla="*/ 11782491 w 12192000"/>
              <a:gd name="connsiteY187" fmla="*/ 6134432 h 6858001"/>
              <a:gd name="connsiteX188" fmla="*/ 11696825 w 12192000"/>
              <a:gd name="connsiteY188" fmla="*/ 6305472 h 6858001"/>
              <a:gd name="connsiteX189" fmla="*/ 11520760 w 12192000"/>
              <a:gd name="connsiteY189" fmla="*/ 6362758 h 6858001"/>
              <a:gd name="connsiteX190" fmla="*/ 11279960 w 12192000"/>
              <a:gd name="connsiteY190" fmla="*/ 6187934 h 6858001"/>
              <a:gd name="connsiteX191" fmla="*/ 11307119 w 12192000"/>
              <a:gd name="connsiteY191" fmla="*/ 6116333 h 6858001"/>
              <a:gd name="connsiteX192" fmla="*/ 11381902 w 12192000"/>
              <a:gd name="connsiteY192" fmla="*/ 6083354 h 6858001"/>
              <a:gd name="connsiteX193" fmla="*/ 11440099 w 12192000"/>
              <a:gd name="connsiteY193" fmla="*/ 6099455 h 6858001"/>
              <a:gd name="connsiteX194" fmla="*/ 11471351 w 12192000"/>
              <a:gd name="connsiteY194" fmla="*/ 6162560 h 6858001"/>
              <a:gd name="connsiteX195" fmla="*/ 11471351 w 12192000"/>
              <a:gd name="connsiteY195" fmla="*/ 6165315 h 6858001"/>
              <a:gd name="connsiteX196" fmla="*/ 11464445 w 12192000"/>
              <a:gd name="connsiteY196" fmla="*/ 6154064 h 6858001"/>
              <a:gd name="connsiteX197" fmla="*/ 11432669 w 12192000"/>
              <a:gd name="connsiteY197" fmla="*/ 6139185 h 6858001"/>
              <a:gd name="connsiteX198" fmla="*/ 11401088 w 12192000"/>
              <a:gd name="connsiteY198" fmla="*/ 6169893 h 6858001"/>
              <a:gd name="connsiteX199" fmla="*/ 11400312 w 12192000"/>
              <a:gd name="connsiteY199" fmla="*/ 6175907 h 6858001"/>
              <a:gd name="connsiteX200" fmla="*/ 11399943 w 12192000"/>
              <a:gd name="connsiteY200" fmla="*/ 6176566 h 6858001"/>
              <a:gd name="connsiteX201" fmla="*/ 11386907 w 12192000"/>
              <a:gd name="connsiteY201" fmla="*/ 6167934 h 6858001"/>
              <a:gd name="connsiteX202" fmla="*/ 11380001 w 12192000"/>
              <a:gd name="connsiteY202" fmla="*/ 6142812 h 6858001"/>
              <a:gd name="connsiteX203" fmla="*/ 11380369 w 12192000"/>
              <a:gd name="connsiteY203" fmla="*/ 6136042 h 6858001"/>
              <a:gd name="connsiteX204" fmla="*/ 11380893 w 12192000"/>
              <a:gd name="connsiteY204" fmla="*/ 6130979 h 6858001"/>
              <a:gd name="connsiteX205" fmla="*/ 11377479 w 12192000"/>
              <a:gd name="connsiteY205" fmla="*/ 6134859 h 6858001"/>
              <a:gd name="connsiteX206" fmla="*/ 11355636 w 12192000"/>
              <a:gd name="connsiteY206" fmla="*/ 6182774 h 6858001"/>
              <a:gd name="connsiteX207" fmla="*/ 11380059 w 12192000"/>
              <a:gd name="connsiteY207" fmla="*/ 6230263 h 6858001"/>
              <a:gd name="connsiteX208" fmla="*/ 11385374 w 12192000"/>
              <a:gd name="connsiteY208" fmla="*/ 6235365 h 6858001"/>
              <a:gd name="connsiteX209" fmla="*/ 11387314 w 12192000"/>
              <a:gd name="connsiteY209" fmla="*/ 6237576 h 6858001"/>
              <a:gd name="connsiteX210" fmla="*/ 11387838 w 12192000"/>
              <a:gd name="connsiteY210" fmla="*/ 6238352 h 6858001"/>
              <a:gd name="connsiteX211" fmla="*/ 11387838 w 12192000"/>
              <a:gd name="connsiteY211" fmla="*/ 6238507 h 6858001"/>
              <a:gd name="connsiteX212" fmla="*/ 11381786 w 12192000"/>
              <a:gd name="connsiteY212" fmla="*/ 6243202 h 6858001"/>
              <a:gd name="connsiteX213" fmla="*/ 11359516 w 12192000"/>
              <a:gd name="connsiteY213" fmla="*/ 6246616 h 6858001"/>
              <a:gd name="connsiteX214" fmla="*/ 11347488 w 12192000"/>
              <a:gd name="connsiteY214" fmla="*/ 6246034 h 6858001"/>
              <a:gd name="connsiteX215" fmla="*/ 11343608 w 12192000"/>
              <a:gd name="connsiteY215" fmla="*/ 6245665 h 6858001"/>
              <a:gd name="connsiteX216" fmla="*/ 11346169 w 12192000"/>
              <a:gd name="connsiteY216" fmla="*/ 6248750 h 6858001"/>
              <a:gd name="connsiteX217" fmla="*/ 11439284 w 12192000"/>
              <a:gd name="connsiteY217" fmla="*/ 6294881 h 6858001"/>
              <a:gd name="connsiteX218" fmla="*/ 11493601 w 12192000"/>
              <a:gd name="connsiteY218" fmla="*/ 6285686 h 6858001"/>
              <a:gd name="connsiteX219" fmla="*/ 11509567 w 12192000"/>
              <a:gd name="connsiteY219" fmla="*/ 6281631 h 6858001"/>
              <a:gd name="connsiteX220" fmla="*/ 11511972 w 12192000"/>
              <a:gd name="connsiteY220" fmla="*/ 6282407 h 6858001"/>
              <a:gd name="connsiteX221" fmla="*/ 11512612 w 12192000"/>
              <a:gd name="connsiteY221" fmla="*/ 6285162 h 6858001"/>
              <a:gd name="connsiteX222" fmla="*/ 11505978 w 12192000"/>
              <a:gd name="connsiteY222" fmla="*/ 6304871 h 6858001"/>
              <a:gd name="connsiteX223" fmla="*/ 11489605 w 12192000"/>
              <a:gd name="connsiteY223" fmla="*/ 6326811 h 6858001"/>
              <a:gd name="connsiteX224" fmla="*/ 11485725 w 12192000"/>
              <a:gd name="connsiteY224" fmla="*/ 6330342 h 6858001"/>
              <a:gd name="connsiteX225" fmla="*/ 11490924 w 12192000"/>
              <a:gd name="connsiteY225" fmla="*/ 6329663 h 6858001"/>
              <a:gd name="connsiteX226" fmla="*/ 11623982 w 12192000"/>
              <a:gd name="connsiteY226" fmla="*/ 6240234 h 6858001"/>
              <a:gd name="connsiteX227" fmla="*/ 11630713 w 12192000"/>
              <a:gd name="connsiteY227" fmla="*/ 6228672 h 6858001"/>
              <a:gd name="connsiteX228" fmla="*/ 11635175 w 12192000"/>
              <a:gd name="connsiteY228" fmla="*/ 6224424 h 6858001"/>
              <a:gd name="connsiteX229" fmla="*/ 11638803 w 12192000"/>
              <a:gd name="connsiteY229" fmla="*/ 6227372 h 6858001"/>
              <a:gd name="connsiteX230" fmla="*/ 11646814 w 12192000"/>
              <a:gd name="connsiteY230" fmla="*/ 6266927 h 6858001"/>
              <a:gd name="connsiteX231" fmla="*/ 11644622 w 12192000"/>
              <a:gd name="connsiteY231" fmla="*/ 6288692 h 6858001"/>
              <a:gd name="connsiteX232" fmla="*/ 11643517 w 12192000"/>
              <a:gd name="connsiteY232" fmla="*/ 6293833 h 6858001"/>
              <a:gd name="connsiteX233" fmla="*/ 11647396 w 12192000"/>
              <a:gd name="connsiteY233" fmla="*/ 6290244 h 6858001"/>
              <a:gd name="connsiteX234" fmla="*/ 11690074 w 12192000"/>
              <a:gd name="connsiteY234" fmla="*/ 6199418 h 6858001"/>
              <a:gd name="connsiteX235" fmla="*/ 11680995 w 12192000"/>
              <a:gd name="connsiteY235" fmla="*/ 6149563 h 6858001"/>
              <a:gd name="connsiteX236" fmla="*/ 11677251 w 12192000"/>
              <a:gd name="connsiteY236" fmla="*/ 6134956 h 6858001"/>
              <a:gd name="connsiteX237" fmla="*/ 11678105 w 12192000"/>
              <a:gd name="connsiteY237" fmla="*/ 6130940 h 6858001"/>
              <a:gd name="connsiteX238" fmla="*/ 11680685 w 12192000"/>
              <a:gd name="connsiteY238" fmla="*/ 6129582 h 6858001"/>
              <a:gd name="connsiteX239" fmla="*/ 11731821 w 12192000"/>
              <a:gd name="connsiteY239" fmla="*/ 6144267 h 6858001"/>
              <a:gd name="connsiteX240" fmla="*/ 11735700 w 12192000"/>
              <a:gd name="connsiteY240" fmla="*/ 6146207 h 6858001"/>
              <a:gd name="connsiteX241" fmla="*/ 11733993 w 12192000"/>
              <a:gd name="connsiteY241" fmla="*/ 6142191 h 6858001"/>
              <a:gd name="connsiteX242" fmla="*/ 11586328 w 12192000"/>
              <a:gd name="connsiteY242" fmla="*/ 6035691 h 6858001"/>
              <a:gd name="connsiteX243" fmla="*/ 11502486 w 12192000"/>
              <a:gd name="connsiteY243" fmla="*/ 6019493 h 6858001"/>
              <a:gd name="connsiteX244" fmla="*/ 11502467 w 12192000"/>
              <a:gd name="connsiteY244" fmla="*/ 6019396 h 6858001"/>
              <a:gd name="connsiteX245" fmla="*/ 11457577 w 12192000"/>
              <a:gd name="connsiteY245" fmla="*/ 6009153 h 6858001"/>
              <a:gd name="connsiteX246" fmla="*/ 11452010 w 12192000"/>
              <a:gd name="connsiteY246" fmla="*/ 6006651 h 6858001"/>
              <a:gd name="connsiteX247" fmla="*/ 11563205 w 12192000"/>
              <a:gd name="connsiteY247" fmla="*/ 5955147 h 6858001"/>
              <a:gd name="connsiteX248" fmla="*/ 11595931 w 12192000"/>
              <a:gd name="connsiteY248" fmla="*/ 5930452 h 6858001"/>
              <a:gd name="connsiteX249" fmla="*/ 11607958 w 12192000"/>
              <a:gd name="connsiteY249" fmla="*/ 5920946 h 6858001"/>
              <a:gd name="connsiteX250" fmla="*/ 11615718 w 12192000"/>
              <a:gd name="connsiteY250" fmla="*/ 5917066 h 6858001"/>
              <a:gd name="connsiteX251" fmla="*/ 11619074 w 12192000"/>
              <a:gd name="connsiteY251" fmla="*/ 5918754 h 6858001"/>
              <a:gd name="connsiteX252" fmla="*/ 11624331 w 12192000"/>
              <a:gd name="connsiteY252" fmla="*/ 5943139 h 6858001"/>
              <a:gd name="connsiteX253" fmla="*/ 11621014 w 12192000"/>
              <a:gd name="connsiteY253" fmla="*/ 5968726 h 6858001"/>
              <a:gd name="connsiteX254" fmla="*/ 11619830 w 12192000"/>
              <a:gd name="connsiteY254" fmla="*/ 5972935 h 6858001"/>
              <a:gd name="connsiteX255" fmla="*/ 11623497 w 12192000"/>
              <a:gd name="connsiteY255" fmla="*/ 5970569 h 6858001"/>
              <a:gd name="connsiteX256" fmla="*/ 11666175 w 12192000"/>
              <a:gd name="connsiteY256" fmla="*/ 5897532 h 6858001"/>
              <a:gd name="connsiteX257" fmla="*/ 11642081 w 12192000"/>
              <a:gd name="connsiteY257" fmla="*/ 5844049 h 6858001"/>
              <a:gd name="connsiteX258" fmla="*/ 11637580 w 12192000"/>
              <a:gd name="connsiteY258" fmla="*/ 5838811 h 6858001"/>
              <a:gd name="connsiteX259" fmla="*/ 11635369 w 12192000"/>
              <a:gd name="connsiteY259" fmla="*/ 5835610 h 6858001"/>
              <a:gd name="connsiteX260" fmla="*/ 11637988 w 12192000"/>
              <a:gd name="connsiteY260" fmla="*/ 5832429 h 6858001"/>
              <a:gd name="connsiteX261" fmla="*/ 11666310 w 12192000"/>
              <a:gd name="connsiteY261" fmla="*/ 5825096 h 6858001"/>
              <a:gd name="connsiteX262" fmla="*/ 11685535 w 12192000"/>
              <a:gd name="connsiteY262" fmla="*/ 5827346 h 6858001"/>
              <a:gd name="connsiteX263" fmla="*/ 11690055 w 12192000"/>
              <a:gd name="connsiteY263" fmla="*/ 5828374 h 6858001"/>
              <a:gd name="connsiteX264" fmla="*/ 11687203 w 12192000"/>
              <a:gd name="connsiteY264" fmla="*/ 5824708 h 6858001"/>
              <a:gd name="connsiteX265" fmla="*/ 11608424 w 12192000"/>
              <a:gd name="connsiteY265" fmla="*/ 5783660 h 6858001"/>
              <a:gd name="connsiteX266" fmla="*/ 11557075 w 12192000"/>
              <a:gd name="connsiteY266" fmla="*/ 5793573 h 6858001"/>
              <a:gd name="connsiteX267" fmla="*/ 11537889 w 12192000"/>
              <a:gd name="connsiteY267" fmla="*/ 5798403 h 6858001"/>
              <a:gd name="connsiteX268" fmla="*/ 11536842 w 12192000"/>
              <a:gd name="connsiteY268" fmla="*/ 5798306 h 6858001"/>
              <a:gd name="connsiteX269" fmla="*/ 11546657 w 12192000"/>
              <a:gd name="connsiteY269" fmla="*/ 5777510 h 6858001"/>
              <a:gd name="connsiteX270" fmla="*/ 11575116 w 12192000"/>
              <a:gd name="connsiteY270" fmla="*/ 5752486 h 6858001"/>
              <a:gd name="connsiteX271" fmla="*/ 11579597 w 12192000"/>
              <a:gd name="connsiteY271" fmla="*/ 5749789 h 6858001"/>
              <a:gd name="connsiteX272" fmla="*/ 11574456 w 12192000"/>
              <a:gd name="connsiteY272" fmla="*/ 5749517 h 6858001"/>
              <a:gd name="connsiteX273" fmla="*/ 11567492 w 12192000"/>
              <a:gd name="connsiteY273" fmla="*/ 5749265 h 6858001"/>
              <a:gd name="connsiteX274" fmla="*/ 11401805 w 12192000"/>
              <a:gd name="connsiteY274" fmla="*/ 5811594 h 6858001"/>
              <a:gd name="connsiteX275" fmla="*/ 11288670 w 12192000"/>
              <a:gd name="connsiteY275" fmla="*/ 5852720 h 6858001"/>
              <a:gd name="connsiteX276" fmla="*/ 11283413 w 12192000"/>
              <a:gd name="connsiteY276" fmla="*/ 5845698 h 6858001"/>
              <a:gd name="connsiteX277" fmla="*/ 11306265 w 12192000"/>
              <a:gd name="connsiteY277" fmla="*/ 5808995 h 6858001"/>
              <a:gd name="connsiteX278" fmla="*/ 11560082 w 12192000"/>
              <a:gd name="connsiteY278" fmla="*/ 5707189 h 6858001"/>
              <a:gd name="connsiteX279" fmla="*/ 11560082 w 12192000"/>
              <a:gd name="connsiteY279" fmla="*/ 5683561 h 6858001"/>
              <a:gd name="connsiteX280" fmla="*/ 11355248 w 12192000"/>
              <a:gd name="connsiteY280" fmla="*/ 5743271 h 6858001"/>
              <a:gd name="connsiteX281" fmla="*/ 11286090 w 12192000"/>
              <a:gd name="connsiteY281" fmla="*/ 5796502 h 6858001"/>
              <a:gd name="connsiteX282" fmla="*/ 11259863 w 12192000"/>
              <a:gd name="connsiteY282" fmla="*/ 5845678 h 6858001"/>
              <a:gd name="connsiteX283" fmla="*/ 11267720 w 12192000"/>
              <a:gd name="connsiteY283" fmla="*/ 5864321 h 6858001"/>
              <a:gd name="connsiteX284" fmla="*/ 11315014 w 12192000"/>
              <a:gd name="connsiteY284" fmla="*/ 5880131 h 6858001"/>
              <a:gd name="connsiteX285" fmla="*/ 11390088 w 12192000"/>
              <a:gd name="connsiteY285" fmla="*/ 5882439 h 6858001"/>
              <a:gd name="connsiteX286" fmla="*/ 11395074 w 12192000"/>
              <a:gd name="connsiteY286" fmla="*/ 5882439 h 6858001"/>
              <a:gd name="connsiteX287" fmla="*/ 11487898 w 12192000"/>
              <a:gd name="connsiteY287" fmla="*/ 5886319 h 6858001"/>
              <a:gd name="connsiteX288" fmla="*/ 11508907 w 12192000"/>
              <a:gd name="connsiteY288" fmla="*/ 5891789 h 6858001"/>
              <a:gd name="connsiteX289" fmla="*/ 11514727 w 12192000"/>
              <a:gd name="connsiteY289" fmla="*/ 5898657 h 6858001"/>
              <a:gd name="connsiteX290" fmla="*/ 11510963 w 12192000"/>
              <a:gd name="connsiteY290" fmla="*/ 5904476 h 6858001"/>
              <a:gd name="connsiteX291" fmla="*/ 11455346 w 12192000"/>
              <a:gd name="connsiteY291" fmla="*/ 5942789 h 6858001"/>
              <a:gd name="connsiteX292" fmla="*/ 11426248 w 12192000"/>
              <a:gd name="connsiteY292" fmla="*/ 5966553 h 6858001"/>
              <a:gd name="connsiteX293" fmla="*/ 11413231 w 12192000"/>
              <a:gd name="connsiteY293" fmla="*/ 5991655 h 6858001"/>
              <a:gd name="connsiteX294" fmla="*/ 11413231 w 12192000"/>
              <a:gd name="connsiteY294" fmla="*/ 5992063 h 6858001"/>
              <a:gd name="connsiteX295" fmla="*/ 11427936 w 12192000"/>
              <a:gd name="connsiteY295" fmla="*/ 6018542 h 6858001"/>
              <a:gd name="connsiteX296" fmla="*/ 11538762 w 12192000"/>
              <a:gd name="connsiteY296" fmla="*/ 6049581 h 6858001"/>
              <a:gd name="connsiteX297" fmla="*/ 11571158 w 12192000"/>
              <a:gd name="connsiteY297" fmla="*/ 6066050 h 6858001"/>
              <a:gd name="connsiteX298" fmla="*/ 11577211 w 12192000"/>
              <a:gd name="connsiteY298" fmla="*/ 6087292 h 6858001"/>
              <a:gd name="connsiteX299" fmla="*/ 11551507 w 12192000"/>
              <a:gd name="connsiteY299" fmla="*/ 6148884 h 6858001"/>
              <a:gd name="connsiteX300" fmla="*/ 11493407 w 12192000"/>
              <a:gd name="connsiteY300" fmla="*/ 6171115 h 6858001"/>
              <a:gd name="connsiteX301" fmla="*/ 11490342 w 12192000"/>
              <a:gd name="connsiteY301" fmla="*/ 6171115 h 6858001"/>
              <a:gd name="connsiteX302" fmla="*/ 11491254 w 12192000"/>
              <a:gd name="connsiteY302" fmla="*/ 6156644 h 6858001"/>
              <a:gd name="connsiteX303" fmla="*/ 11460254 w 12192000"/>
              <a:gd name="connsiteY303" fmla="*/ 6086497 h 6858001"/>
              <a:gd name="connsiteX304" fmla="*/ 11381689 w 12192000"/>
              <a:gd name="connsiteY304" fmla="*/ 6060114 h 6858001"/>
              <a:gd name="connsiteX305" fmla="*/ 11289563 w 12192000"/>
              <a:gd name="connsiteY305" fmla="*/ 6100484 h 6858001"/>
              <a:gd name="connsiteX306" fmla="*/ 11256313 w 12192000"/>
              <a:gd name="connsiteY306" fmla="*/ 6187934 h 6858001"/>
              <a:gd name="connsiteX307" fmla="*/ 11323608 w 12192000"/>
              <a:gd name="connsiteY307" fmla="*/ 6324348 h 6858001"/>
              <a:gd name="connsiteX308" fmla="*/ 11520760 w 12192000"/>
              <a:gd name="connsiteY308" fmla="*/ 6386424 h 6858001"/>
              <a:gd name="connsiteX309" fmla="*/ 11710967 w 12192000"/>
              <a:gd name="connsiteY309" fmla="*/ 6324348 h 6858001"/>
              <a:gd name="connsiteX310" fmla="*/ 11806196 w 12192000"/>
              <a:gd name="connsiteY310" fmla="*/ 6134354 h 6858001"/>
              <a:gd name="connsiteX311" fmla="*/ 11714556 w 12192000"/>
              <a:gd name="connsiteY311" fmla="*/ 5977475 h 6858001"/>
              <a:gd name="connsiteX312" fmla="*/ 11699036 w 12192000"/>
              <a:gd name="connsiteY312" fmla="*/ 5965215 h 6858001"/>
              <a:gd name="connsiteX313" fmla="*/ 11706195 w 12192000"/>
              <a:gd name="connsiteY313" fmla="*/ 5954312 h 6858001"/>
              <a:gd name="connsiteX314" fmla="*/ 11749842 w 12192000"/>
              <a:gd name="connsiteY314" fmla="*/ 5831284 h 6858001"/>
              <a:gd name="connsiteX315" fmla="*/ 11707339 w 12192000"/>
              <a:gd name="connsiteY315" fmla="*/ 5731690 h 6858001"/>
              <a:gd name="connsiteX316" fmla="*/ 11560082 w 12192000"/>
              <a:gd name="connsiteY316" fmla="*/ 5683561 h 6858001"/>
              <a:gd name="connsiteX317" fmla="*/ 0 w 12192000"/>
              <a:gd name="connsiteY317" fmla="*/ 0 h 6858001"/>
              <a:gd name="connsiteX318" fmla="*/ 5718175 w 12192000"/>
              <a:gd name="connsiteY318" fmla="*/ 0 h 6858001"/>
              <a:gd name="connsiteX319" fmla="*/ 5718175 w 12192000"/>
              <a:gd name="connsiteY319" fmla="*/ 2 h 6858001"/>
              <a:gd name="connsiteX320" fmla="*/ 12192000 w 12192000"/>
              <a:gd name="connsiteY320" fmla="*/ 2 h 6858001"/>
              <a:gd name="connsiteX321" fmla="*/ 12192000 w 12192000"/>
              <a:gd name="connsiteY321" fmla="*/ 6858001 h 6858001"/>
              <a:gd name="connsiteX322" fmla="*/ 5087938 w 12192000"/>
              <a:gd name="connsiteY322" fmla="*/ 6858001 h 6858001"/>
              <a:gd name="connsiteX323" fmla="*/ 5087938 w 12192000"/>
              <a:gd name="connsiteY323" fmla="*/ 6857998 h 6858001"/>
              <a:gd name="connsiteX324" fmla="*/ 0 w 12192000"/>
              <a:gd name="connsiteY324" fmla="*/ 6857998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12192000" h="6858001">
                <a:moveTo>
                  <a:pt x="11691026" y="6510557"/>
                </a:moveTo>
                <a:lnTo>
                  <a:pt x="11691006" y="6519248"/>
                </a:lnTo>
                <a:cubicBezTo>
                  <a:pt x="11691006" y="6524350"/>
                  <a:pt x="11690347" y="6538802"/>
                  <a:pt x="11672131" y="6538802"/>
                </a:cubicBezTo>
                <a:cubicBezTo>
                  <a:pt x="11664565" y="6538802"/>
                  <a:pt x="11657834" y="6536668"/>
                  <a:pt x="11657834" y="6527958"/>
                </a:cubicBezTo>
                <a:cubicBezTo>
                  <a:pt x="11657834" y="6519248"/>
                  <a:pt x="11664410" y="6516959"/>
                  <a:pt x="11671627" y="6515485"/>
                </a:cubicBezTo>
                <a:cubicBezTo>
                  <a:pt x="11678843" y="6514010"/>
                  <a:pt x="11687146" y="6514010"/>
                  <a:pt x="11691026" y="6510557"/>
                </a:cubicBezTo>
                <a:close/>
                <a:moveTo>
                  <a:pt x="11763345" y="6482487"/>
                </a:moveTo>
                <a:cubicBezTo>
                  <a:pt x="11778437" y="6482487"/>
                  <a:pt x="11783209" y="6494806"/>
                  <a:pt x="11783209" y="6508579"/>
                </a:cubicBezTo>
                <a:cubicBezTo>
                  <a:pt x="11783209" y="6520742"/>
                  <a:pt x="11776633" y="6532071"/>
                  <a:pt x="11763345" y="6532071"/>
                </a:cubicBezTo>
                <a:cubicBezTo>
                  <a:pt x="11749048" y="6532071"/>
                  <a:pt x="11744469" y="6518763"/>
                  <a:pt x="11744469" y="6506620"/>
                </a:cubicBezTo>
                <a:cubicBezTo>
                  <a:pt x="11744469" y="6493991"/>
                  <a:pt x="11750289" y="6482487"/>
                  <a:pt x="11763345" y="6482487"/>
                </a:cubicBezTo>
                <a:close/>
                <a:moveTo>
                  <a:pt x="11531973" y="6482487"/>
                </a:moveTo>
                <a:cubicBezTo>
                  <a:pt x="11543302" y="6482487"/>
                  <a:pt x="11548403" y="6488734"/>
                  <a:pt x="11550537" y="6500548"/>
                </a:cubicBezTo>
                <a:lnTo>
                  <a:pt x="11512574" y="6500548"/>
                </a:lnTo>
                <a:cubicBezTo>
                  <a:pt x="11512903" y="6493972"/>
                  <a:pt x="11517171" y="6482487"/>
                  <a:pt x="11531973" y="6482487"/>
                </a:cubicBezTo>
                <a:close/>
                <a:moveTo>
                  <a:pt x="11383473" y="6482410"/>
                </a:moveTo>
                <a:cubicBezTo>
                  <a:pt x="11399225" y="6482410"/>
                  <a:pt x="11404153" y="6495989"/>
                  <a:pt x="11404153" y="6509665"/>
                </a:cubicBezTo>
                <a:cubicBezTo>
                  <a:pt x="11404153" y="6523342"/>
                  <a:pt x="11399400" y="6536824"/>
                  <a:pt x="11383473" y="6536824"/>
                </a:cubicBezTo>
                <a:cubicBezTo>
                  <a:pt x="11367721" y="6536824"/>
                  <a:pt x="11362949" y="6523245"/>
                  <a:pt x="11362949" y="6509665"/>
                </a:cubicBezTo>
                <a:cubicBezTo>
                  <a:pt x="11362949" y="6496086"/>
                  <a:pt x="11367721" y="6482410"/>
                  <a:pt x="11383473" y="6482410"/>
                </a:cubicBezTo>
                <a:close/>
                <a:moveTo>
                  <a:pt x="11757661" y="6464970"/>
                </a:moveTo>
                <a:cubicBezTo>
                  <a:pt x="11733858" y="6464970"/>
                  <a:pt x="11721210" y="6485009"/>
                  <a:pt x="11721210" y="6507008"/>
                </a:cubicBezTo>
                <a:cubicBezTo>
                  <a:pt x="11721210" y="6530286"/>
                  <a:pt x="11732035" y="6549685"/>
                  <a:pt x="11757486" y="6549685"/>
                </a:cubicBezTo>
                <a:cubicBezTo>
                  <a:pt x="11767671" y="6549685"/>
                  <a:pt x="11777836" y="6545418"/>
                  <a:pt x="11782938" y="6536552"/>
                </a:cubicBezTo>
                <a:lnTo>
                  <a:pt x="11783267" y="6536552"/>
                </a:lnTo>
                <a:lnTo>
                  <a:pt x="11783267" y="6547707"/>
                </a:lnTo>
                <a:cubicBezTo>
                  <a:pt x="11783423" y="6559870"/>
                  <a:pt x="11777448" y="6568716"/>
                  <a:pt x="11764547" y="6568716"/>
                </a:cubicBezTo>
                <a:cubicBezTo>
                  <a:pt x="11756342" y="6568716"/>
                  <a:pt x="11749280" y="6565767"/>
                  <a:pt x="11747088" y="6557076"/>
                </a:cubicBezTo>
                <a:lnTo>
                  <a:pt x="11723945" y="6557076"/>
                </a:lnTo>
                <a:cubicBezTo>
                  <a:pt x="11725090" y="6576475"/>
                  <a:pt x="11744625" y="6584332"/>
                  <a:pt x="11761366" y="6584332"/>
                </a:cubicBezTo>
                <a:cubicBezTo>
                  <a:pt x="11800435" y="6584332"/>
                  <a:pt x="11805363" y="6560684"/>
                  <a:pt x="11805363" y="6546737"/>
                </a:cubicBezTo>
                <a:lnTo>
                  <a:pt x="11805363" y="6467278"/>
                </a:lnTo>
                <a:lnTo>
                  <a:pt x="11783209" y="6467278"/>
                </a:lnTo>
                <a:lnTo>
                  <a:pt x="11783209" y="6478549"/>
                </a:lnTo>
                <a:lnTo>
                  <a:pt x="11782879" y="6478549"/>
                </a:lnTo>
                <a:cubicBezTo>
                  <a:pt x="11777292" y="6468695"/>
                  <a:pt x="11768757" y="6464970"/>
                  <a:pt x="11757661" y="6464970"/>
                </a:cubicBezTo>
                <a:close/>
                <a:moveTo>
                  <a:pt x="11677020" y="6464931"/>
                </a:moveTo>
                <a:cubicBezTo>
                  <a:pt x="11657970" y="6464931"/>
                  <a:pt x="11638435" y="6471488"/>
                  <a:pt x="11637116" y="6493331"/>
                </a:cubicBezTo>
                <a:lnTo>
                  <a:pt x="11660395" y="6493331"/>
                </a:lnTo>
                <a:cubicBezTo>
                  <a:pt x="11661209" y="6484136"/>
                  <a:pt x="11666951" y="6480528"/>
                  <a:pt x="11675914" y="6480528"/>
                </a:cubicBezTo>
                <a:cubicBezTo>
                  <a:pt x="11684120" y="6480528"/>
                  <a:pt x="11691026" y="6482002"/>
                  <a:pt x="11691026" y="6492012"/>
                </a:cubicBezTo>
                <a:cubicBezTo>
                  <a:pt x="11691026" y="6501537"/>
                  <a:pt x="11677737" y="6501032"/>
                  <a:pt x="11663440" y="6503166"/>
                </a:cubicBezTo>
                <a:cubicBezTo>
                  <a:pt x="11649143" y="6505300"/>
                  <a:pt x="11634594" y="6509743"/>
                  <a:pt x="11634594" y="6528948"/>
                </a:cubicBezTo>
                <a:cubicBezTo>
                  <a:pt x="11634594" y="6546407"/>
                  <a:pt x="11647397" y="6554399"/>
                  <a:pt x="11663479" y="6554399"/>
                </a:cubicBezTo>
                <a:cubicBezTo>
                  <a:pt x="11673819" y="6554399"/>
                  <a:pt x="11684663" y="6551606"/>
                  <a:pt x="11692054" y="6543885"/>
                </a:cubicBezTo>
                <a:cubicBezTo>
                  <a:pt x="11692265" y="6546676"/>
                  <a:pt x="11692812" y="6549431"/>
                  <a:pt x="11693683" y="6552091"/>
                </a:cubicBezTo>
                <a:lnTo>
                  <a:pt x="11717234" y="6552091"/>
                </a:lnTo>
                <a:cubicBezTo>
                  <a:pt x="11715100" y="6548638"/>
                  <a:pt x="11714285" y="6540936"/>
                  <a:pt x="11714285" y="6533215"/>
                </a:cubicBezTo>
                <a:lnTo>
                  <a:pt x="11714285" y="6489063"/>
                </a:lnTo>
                <a:cubicBezTo>
                  <a:pt x="11714285" y="6468694"/>
                  <a:pt x="11693916" y="6464931"/>
                  <a:pt x="11677020" y="6464931"/>
                </a:cubicBezTo>
                <a:close/>
                <a:moveTo>
                  <a:pt x="11532593" y="6464912"/>
                </a:moveTo>
                <a:cubicBezTo>
                  <a:pt x="11506812" y="6464912"/>
                  <a:pt x="11489256" y="6484311"/>
                  <a:pt x="11489256" y="6509724"/>
                </a:cubicBezTo>
                <a:cubicBezTo>
                  <a:pt x="11489256" y="6536009"/>
                  <a:pt x="11505842" y="6554341"/>
                  <a:pt x="11532593" y="6554341"/>
                </a:cubicBezTo>
                <a:cubicBezTo>
                  <a:pt x="11551798" y="6554341"/>
                  <a:pt x="11565746" y="6545806"/>
                  <a:pt x="11572322" y="6525786"/>
                </a:cubicBezTo>
                <a:lnTo>
                  <a:pt x="11551798" y="6525786"/>
                </a:lnTo>
                <a:cubicBezTo>
                  <a:pt x="11550324" y="6531024"/>
                  <a:pt x="11542778" y="6536785"/>
                  <a:pt x="11533427" y="6536785"/>
                </a:cubicBezTo>
                <a:cubicBezTo>
                  <a:pt x="11520450" y="6536785"/>
                  <a:pt x="11513214" y="6530054"/>
                  <a:pt x="11512574" y="6515272"/>
                </a:cubicBezTo>
                <a:lnTo>
                  <a:pt x="11573797" y="6515272"/>
                </a:lnTo>
                <a:cubicBezTo>
                  <a:pt x="11575446" y="6489219"/>
                  <a:pt x="11561478" y="6464912"/>
                  <a:pt x="11532593" y="6464912"/>
                </a:cubicBezTo>
                <a:close/>
                <a:moveTo>
                  <a:pt x="11484290" y="6464912"/>
                </a:moveTo>
                <a:cubicBezTo>
                  <a:pt x="11472474" y="6465067"/>
                  <a:pt x="11461846" y="6472136"/>
                  <a:pt x="11457132" y="6482972"/>
                </a:cubicBezTo>
                <a:lnTo>
                  <a:pt x="11456802" y="6482972"/>
                </a:lnTo>
                <a:lnTo>
                  <a:pt x="11456802" y="6467279"/>
                </a:lnTo>
                <a:lnTo>
                  <a:pt x="11434784" y="6467279"/>
                </a:lnTo>
                <a:lnTo>
                  <a:pt x="11434784" y="6552149"/>
                </a:lnTo>
                <a:lnTo>
                  <a:pt x="11458063" y="6552149"/>
                </a:lnTo>
                <a:lnTo>
                  <a:pt x="11458063" y="6513836"/>
                </a:lnTo>
                <a:cubicBezTo>
                  <a:pt x="11458063" y="6498899"/>
                  <a:pt x="11463882" y="6486678"/>
                  <a:pt x="11481051" y="6486678"/>
                </a:cubicBezTo>
                <a:cubicBezTo>
                  <a:pt x="11483863" y="6486668"/>
                  <a:pt x="11486672" y="6486940"/>
                  <a:pt x="11489431" y="6487492"/>
                </a:cubicBezTo>
                <a:lnTo>
                  <a:pt x="11489392" y="6465746"/>
                </a:lnTo>
                <a:cubicBezTo>
                  <a:pt x="11487743" y="6465217"/>
                  <a:pt x="11486023" y="6464935"/>
                  <a:pt x="11484290" y="6464912"/>
                </a:cubicBezTo>
                <a:close/>
                <a:moveTo>
                  <a:pt x="11383473" y="6464912"/>
                </a:moveTo>
                <a:cubicBezTo>
                  <a:pt x="11356877" y="6464912"/>
                  <a:pt x="11339651" y="6482643"/>
                  <a:pt x="11339651" y="6509724"/>
                </a:cubicBezTo>
                <a:cubicBezTo>
                  <a:pt x="11339651" y="6536805"/>
                  <a:pt x="11356877" y="6554341"/>
                  <a:pt x="11383473" y="6554341"/>
                </a:cubicBezTo>
                <a:cubicBezTo>
                  <a:pt x="11410069" y="6554341"/>
                  <a:pt x="11427470" y="6536611"/>
                  <a:pt x="11427470" y="6509724"/>
                </a:cubicBezTo>
                <a:cubicBezTo>
                  <a:pt x="11427470" y="6482837"/>
                  <a:pt x="11410244" y="6464912"/>
                  <a:pt x="11383473" y="6464912"/>
                </a:cubicBezTo>
                <a:close/>
                <a:moveTo>
                  <a:pt x="11589044" y="6441769"/>
                </a:moveTo>
                <a:lnTo>
                  <a:pt x="11589044" y="6467279"/>
                </a:lnTo>
                <a:lnTo>
                  <a:pt x="11574922" y="6467279"/>
                </a:lnTo>
                <a:lnTo>
                  <a:pt x="11574922" y="6482798"/>
                </a:lnTo>
                <a:lnTo>
                  <a:pt x="11589044" y="6482798"/>
                </a:lnTo>
                <a:lnTo>
                  <a:pt x="11589044" y="6532867"/>
                </a:lnTo>
                <a:cubicBezTo>
                  <a:pt x="11589044" y="6549782"/>
                  <a:pt x="11601518" y="6553061"/>
                  <a:pt x="11615796" y="6553061"/>
                </a:cubicBezTo>
                <a:cubicBezTo>
                  <a:pt x="11620337" y="6553137"/>
                  <a:pt x="11624876" y="6552863"/>
                  <a:pt x="11629375" y="6552246"/>
                </a:cubicBezTo>
                <a:lnTo>
                  <a:pt x="11629375" y="6534011"/>
                </a:lnTo>
                <a:cubicBezTo>
                  <a:pt x="11626997" y="6534471"/>
                  <a:pt x="11624579" y="6534692"/>
                  <a:pt x="11622158" y="6534671"/>
                </a:cubicBezTo>
                <a:cubicBezTo>
                  <a:pt x="11614263" y="6534671"/>
                  <a:pt x="11612304" y="6532731"/>
                  <a:pt x="11612304" y="6524816"/>
                </a:cubicBezTo>
                <a:lnTo>
                  <a:pt x="11612304" y="6482798"/>
                </a:lnTo>
                <a:lnTo>
                  <a:pt x="11629375" y="6482798"/>
                </a:lnTo>
                <a:lnTo>
                  <a:pt x="11629375" y="6467279"/>
                </a:lnTo>
                <a:lnTo>
                  <a:pt x="11612304" y="6467279"/>
                </a:lnTo>
                <a:lnTo>
                  <a:pt x="11612323" y="6441769"/>
                </a:lnTo>
                <a:close/>
                <a:moveTo>
                  <a:pt x="11389390" y="6434882"/>
                </a:moveTo>
                <a:lnTo>
                  <a:pt x="11389390" y="6454087"/>
                </a:lnTo>
                <a:lnTo>
                  <a:pt x="11411544" y="6454087"/>
                </a:lnTo>
                <a:lnTo>
                  <a:pt x="11411544" y="6434882"/>
                </a:lnTo>
                <a:close/>
                <a:moveTo>
                  <a:pt x="11355578" y="6434882"/>
                </a:moveTo>
                <a:lnTo>
                  <a:pt x="11355578" y="6454087"/>
                </a:lnTo>
                <a:lnTo>
                  <a:pt x="11377732" y="6454087"/>
                </a:lnTo>
                <a:lnTo>
                  <a:pt x="11377732" y="6434882"/>
                </a:lnTo>
                <a:close/>
                <a:moveTo>
                  <a:pt x="11257148" y="6434882"/>
                </a:moveTo>
                <a:lnTo>
                  <a:pt x="11257148" y="6552091"/>
                </a:lnTo>
                <a:lnTo>
                  <a:pt x="11282929" y="6552091"/>
                </a:lnTo>
                <a:lnTo>
                  <a:pt x="11282929" y="6503671"/>
                </a:lnTo>
                <a:lnTo>
                  <a:pt x="11332009" y="6503671"/>
                </a:lnTo>
                <a:lnTo>
                  <a:pt x="11332009" y="6483651"/>
                </a:lnTo>
                <a:lnTo>
                  <a:pt x="11282929" y="6483651"/>
                </a:lnTo>
                <a:lnTo>
                  <a:pt x="11282929" y="6456551"/>
                </a:lnTo>
                <a:lnTo>
                  <a:pt x="11339574" y="6456551"/>
                </a:lnTo>
                <a:lnTo>
                  <a:pt x="11339574" y="6434882"/>
                </a:lnTo>
                <a:close/>
                <a:moveTo>
                  <a:pt x="11587492" y="6050764"/>
                </a:moveTo>
                <a:cubicBezTo>
                  <a:pt x="11633235" y="6061686"/>
                  <a:pt x="11680743" y="6085197"/>
                  <a:pt x="11707165" y="6120600"/>
                </a:cubicBezTo>
                <a:cubicBezTo>
                  <a:pt x="11697983" y="6117401"/>
                  <a:pt x="11688332" y="6115749"/>
                  <a:pt x="11678609" y="6115712"/>
                </a:cubicBezTo>
                <a:cubicBezTo>
                  <a:pt x="11670074" y="6115848"/>
                  <a:pt x="11663284" y="6124732"/>
                  <a:pt x="11663265" y="6134897"/>
                </a:cubicBezTo>
                <a:cubicBezTo>
                  <a:pt x="11663265" y="6140232"/>
                  <a:pt x="11665205" y="6146265"/>
                  <a:pt x="11667707" y="6153831"/>
                </a:cubicBezTo>
                <a:cubicBezTo>
                  <a:pt x="11671587" y="6165470"/>
                  <a:pt x="11676437" y="6180679"/>
                  <a:pt x="11676437" y="6198759"/>
                </a:cubicBezTo>
                <a:cubicBezTo>
                  <a:pt x="11676437" y="6215403"/>
                  <a:pt x="11672305" y="6234550"/>
                  <a:pt x="11659172" y="6255947"/>
                </a:cubicBezTo>
                <a:cubicBezTo>
                  <a:pt x="11658784" y="6238701"/>
                  <a:pt x="11654128" y="6224909"/>
                  <a:pt x="11648153" y="6217537"/>
                </a:cubicBezTo>
                <a:cubicBezTo>
                  <a:pt x="11643458" y="6211834"/>
                  <a:pt x="11638453" y="6210379"/>
                  <a:pt x="11635078" y="6210398"/>
                </a:cubicBezTo>
                <a:cubicBezTo>
                  <a:pt x="11629844" y="6210526"/>
                  <a:pt x="11624959" y="6213050"/>
                  <a:pt x="11621829" y="6217246"/>
                </a:cubicBezTo>
                <a:cubicBezTo>
                  <a:pt x="11617939" y="6222261"/>
                  <a:pt x="11614554" y="6227648"/>
                  <a:pt x="11611722" y="6233328"/>
                </a:cubicBezTo>
                <a:cubicBezTo>
                  <a:pt x="11599132" y="6255908"/>
                  <a:pt x="11579325" y="6291913"/>
                  <a:pt x="11517326" y="6310555"/>
                </a:cubicBezTo>
                <a:cubicBezTo>
                  <a:pt x="11522933" y="6300855"/>
                  <a:pt x="11525842" y="6291001"/>
                  <a:pt x="11525862" y="6283047"/>
                </a:cubicBezTo>
                <a:cubicBezTo>
                  <a:pt x="11525916" y="6280178"/>
                  <a:pt x="11525416" y="6277326"/>
                  <a:pt x="11524387" y="6274648"/>
                </a:cubicBezTo>
                <a:cubicBezTo>
                  <a:pt x="11522764" y="6270126"/>
                  <a:pt x="11518484" y="6267101"/>
                  <a:pt x="11513679" y="6267082"/>
                </a:cubicBezTo>
                <a:lnTo>
                  <a:pt x="11513524" y="6267082"/>
                </a:lnTo>
                <a:cubicBezTo>
                  <a:pt x="11506773" y="6267334"/>
                  <a:pt x="11498858" y="6269487"/>
                  <a:pt x="11489721" y="6272106"/>
                </a:cubicBezTo>
                <a:cubicBezTo>
                  <a:pt x="11475521" y="6276102"/>
                  <a:pt x="11458062" y="6281049"/>
                  <a:pt x="11439090" y="6281049"/>
                </a:cubicBezTo>
                <a:cubicBezTo>
                  <a:pt x="11419381" y="6281049"/>
                  <a:pt x="11397848" y="6275889"/>
                  <a:pt x="11375714" y="6259128"/>
                </a:cubicBezTo>
                <a:cubicBezTo>
                  <a:pt x="11382806" y="6258286"/>
                  <a:pt x="11389524" y="6255485"/>
                  <a:pt x="11395113" y="6251039"/>
                </a:cubicBezTo>
                <a:cubicBezTo>
                  <a:pt x="11399066" y="6247927"/>
                  <a:pt x="11401484" y="6243260"/>
                  <a:pt x="11401747" y="6238236"/>
                </a:cubicBezTo>
                <a:cubicBezTo>
                  <a:pt x="11401747" y="6230980"/>
                  <a:pt x="11395927" y="6226014"/>
                  <a:pt x="11389448" y="6220039"/>
                </a:cubicBezTo>
                <a:cubicBezTo>
                  <a:pt x="11379981" y="6211097"/>
                  <a:pt x="11368652" y="6200640"/>
                  <a:pt x="11368672" y="6182890"/>
                </a:cubicBezTo>
                <a:cubicBezTo>
                  <a:pt x="11368748" y="6176931"/>
                  <a:pt x="11369830" y="6171030"/>
                  <a:pt x="11371873" y="6165431"/>
                </a:cubicBezTo>
                <a:cubicBezTo>
                  <a:pt x="11373810" y="6170929"/>
                  <a:pt x="11376772" y="6176012"/>
                  <a:pt x="11380602" y="6180407"/>
                </a:cubicBezTo>
                <a:cubicBezTo>
                  <a:pt x="11386422" y="6186634"/>
                  <a:pt x="11393309" y="6190495"/>
                  <a:pt x="11400001" y="6190495"/>
                </a:cubicBezTo>
                <a:cubicBezTo>
                  <a:pt x="11407121" y="6190592"/>
                  <a:pt x="11411330" y="6187158"/>
                  <a:pt x="11413134" y="6182871"/>
                </a:cubicBezTo>
                <a:cubicBezTo>
                  <a:pt x="11414587" y="6178692"/>
                  <a:pt x="11415193" y="6174269"/>
                  <a:pt x="11414919" y="6169854"/>
                </a:cubicBezTo>
                <a:cubicBezTo>
                  <a:pt x="11415029" y="6165420"/>
                  <a:pt x="11416933" y="6161220"/>
                  <a:pt x="11420196" y="6158215"/>
                </a:cubicBezTo>
                <a:cubicBezTo>
                  <a:pt x="11423497" y="6154940"/>
                  <a:pt x="11427942" y="6153076"/>
                  <a:pt x="11432592" y="6153016"/>
                </a:cubicBezTo>
                <a:cubicBezTo>
                  <a:pt x="11443009" y="6153016"/>
                  <a:pt x="11450904" y="6158836"/>
                  <a:pt x="11456433" y="6167488"/>
                </a:cubicBezTo>
                <a:cubicBezTo>
                  <a:pt x="11461985" y="6176883"/>
                  <a:pt x="11464868" y="6187614"/>
                  <a:pt x="11464774" y="6198526"/>
                </a:cubicBezTo>
                <a:cubicBezTo>
                  <a:pt x="11464869" y="6204823"/>
                  <a:pt x="11463748" y="6211081"/>
                  <a:pt x="11461477" y="6216955"/>
                </a:cubicBezTo>
                <a:lnTo>
                  <a:pt x="11459090" y="6222775"/>
                </a:lnTo>
                <a:lnTo>
                  <a:pt x="11463998" y="6218895"/>
                </a:lnTo>
                <a:cubicBezTo>
                  <a:pt x="11472474" y="6212189"/>
                  <a:pt x="11479308" y="6203636"/>
                  <a:pt x="11483979" y="6193890"/>
                </a:cubicBezTo>
                <a:cubicBezTo>
                  <a:pt x="11486482" y="6194006"/>
                  <a:pt x="11488946" y="6194064"/>
                  <a:pt x="11491390" y="6194064"/>
                </a:cubicBezTo>
                <a:lnTo>
                  <a:pt x="11491390" y="6193987"/>
                </a:lnTo>
                <a:cubicBezTo>
                  <a:pt x="11522079" y="6193987"/>
                  <a:pt x="11547647" y="6184656"/>
                  <a:pt x="11567473" y="6166479"/>
                </a:cubicBezTo>
                <a:cubicBezTo>
                  <a:pt x="11588617" y="6147216"/>
                  <a:pt x="11600645" y="6118408"/>
                  <a:pt x="11600645" y="6087447"/>
                </a:cubicBezTo>
                <a:cubicBezTo>
                  <a:pt x="11600645" y="6072627"/>
                  <a:pt x="11596028" y="6060289"/>
                  <a:pt x="11587492" y="6050764"/>
                </a:cubicBezTo>
                <a:close/>
                <a:moveTo>
                  <a:pt x="11538859" y="5766142"/>
                </a:moveTo>
                <a:cubicBezTo>
                  <a:pt x="11528869" y="5777452"/>
                  <a:pt x="11522409" y="5790314"/>
                  <a:pt x="11522370" y="5801410"/>
                </a:cubicBezTo>
                <a:cubicBezTo>
                  <a:pt x="11522314" y="5804317"/>
                  <a:pt x="11523359" y="5807138"/>
                  <a:pt x="11525299" y="5809305"/>
                </a:cubicBezTo>
                <a:cubicBezTo>
                  <a:pt x="11527914" y="5811904"/>
                  <a:pt x="11531513" y="5813265"/>
                  <a:pt x="11535193" y="5813049"/>
                </a:cubicBezTo>
                <a:cubicBezTo>
                  <a:pt x="11542952" y="5813049"/>
                  <a:pt x="11551507" y="5810081"/>
                  <a:pt x="11561478" y="5806900"/>
                </a:cubicBezTo>
                <a:cubicBezTo>
                  <a:pt x="11575058" y="5802457"/>
                  <a:pt x="11590577" y="5797375"/>
                  <a:pt x="11607784" y="5797375"/>
                </a:cubicBezTo>
                <a:cubicBezTo>
                  <a:pt x="11622760" y="5797375"/>
                  <a:pt x="11638938" y="5801255"/>
                  <a:pt x="11656184" y="5812758"/>
                </a:cubicBezTo>
                <a:cubicBezTo>
                  <a:pt x="11644739" y="5813495"/>
                  <a:pt x="11635350" y="5816851"/>
                  <a:pt x="11629472" y="5821488"/>
                </a:cubicBezTo>
                <a:cubicBezTo>
                  <a:pt x="11623109" y="5826396"/>
                  <a:pt x="11621538" y="5831982"/>
                  <a:pt x="11621576" y="5835843"/>
                </a:cubicBezTo>
                <a:cubicBezTo>
                  <a:pt x="11621576" y="5842186"/>
                  <a:pt x="11626077" y="5846978"/>
                  <a:pt x="11631606" y="5853302"/>
                </a:cubicBezTo>
                <a:cubicBezTo>
                  <a:pt x="11640413" y="5863312"/>
                  <a:pt x="11652052" y="5876464"/>
                  <a:pt x="11652149" y="5897609"/>
                </a:cubicBezTo>
                <a:cubicBezTo>
                  <a:pt x="11651759" y="5913516"/>
                  <a:pt x="11646640" y="5928948"/>
                  <a:pt x="11637445" y="5941936"/>
                </a:cubicBezTo>
                <a:cubicBezTo>
                  <a:pt x="11637445" y="5941043"/>
                  <a:pt x="11637445" y="5940132"/>
                  <a:pt x="11637445" y="5939201"/>
                </a:cubicBezTo>
                <a:cubicBezTo>
                  <a:pt x="11637445" y="5928473"/>
                  <a:pt x="11635059" y="5916349"/>
                  <a:pt x="11629181" y="5909481"/>
                </a:cubicBezTo>
                <a:cubicBezTo>
                  <a:pt x="11625799" y="5905489"/>
                  <a:pt x="11620831" y="5903190"/>
                  <a:pt x="11615601" y="5903196"/>
                </a:cubicBezTo>
                <a:cubicBezTo>
                  <a:pt x="11606542" y="5903196"/>
                  <a:pt x="11598724" y="5910180"/>
                  <a:pt x="11587085" y="5919763"/>
                </a:cubicBezTo>
                <a:cubicBezTo>
                  <a:pt x="11577147" y="5928339"/>
                  <a:pt x="11566642" y="5936233"/>
                  <a:pt x="11555639" y="5943391"/>
                </a:cubicBezTo>
                <a:cubicBezTo>
                  <a:pt x="11501128" y="5977727"/>
                  <a:pt x="11471913" y="5991054"/>
                  <a:pt x="11451176" y="5992742"/>
                </a:cubicBezTo>
                <a:cubicBezTo>
                  <a:pt x="11443552" y="5993362"/>
                  <a:pt x="11432068" y="5993227"/>
                  <a:pt x="11441437" y="5983857"/>
                </a:cubicBezTo>
                <a:cubicBezTo>
                  <a:pt x="11451021" y="5974274"/>
                  <a:pt x="11470827" y="5960714"/>
                  <a:pt x="11485609" y="5951344"/>
                </a:cubicBezTo>
                <a:cubicBezTo>
                  <a:pt x="11500100" y="5942033"/>
                  <a:pt x="11513117" y="5933730"/>
                  <a:pt x="11522642" y="5925389"/>
                </a:cubicBezTo>
                <a:cubicBezTo>
                  <a:pt x="11532166" y="5917047"/>
                  <a:pt x="11538335" y="5908570"/>
                  <a:pt x="11538374" y="5898754"/>
                </a:cubicBezTo>
                <a:cubicBezTo>
                  <a:pt x="11538395" y="5891079"/>
                  <a:pt x="11535317" y="5883720"/>
                  <a:pt x="11529839" y="5878346"/>
                </a:cubicBezTo>
                <a:cubicBezTo>
                  <a:pt x="11519732" y="5868414"/>
                  <a:pt x="11501846" y="5863758"/>
                  <a:pt x="11479537" y="5861275"/>
                </a:cubicBezTo>
                <a:cubicBezTo>
                  <a:pt x="11457228" y="5858792"/>
                  <a:pt x="11430380" y="5858734"/>
                  <a:pt x="11402562" y="5858734"/>
                </a:cubicBezTo>
                <a:lnTo>
                  <a:pt x="11394938" y="5858734"/>
                </a:lnTo>
                <a:cubicBezTo>
                  <a:pt x="11372028" y="5858734"/>
                  <a:pt x="11353754" y="5858404"/>
                  <a:pt x="11339185" y="5857822"/>
                </a:cubicBezTo>
                <a:cubicBezTo>
                  <a:pt x="11359419" y="5849946"/>
                  <a:pt x="11382853" y="5837453"/>
                  <a:pt x="11408382" y="5823816"/>
                </a:cubicBezTo>
                <a:cubicBezTo>
                  <a:pt x="11449779" y="5801662"/>
                  <a:pt x="11495677" y="5777083"/>
                  <a:pt x="11538859" y="5766142"/>
                </a:cubicBezTo>
                <a:close/>
                <a:moveTo>
                  <a:pt x="11560082" y="5707189"/>
                </a:moveTo>
                <a:cubicBezTo>
                  <a:pt x="11613953" y="5707189"/>
                  <a:pt x="11657794" y="5720516"/>
                  <a:pt x="11686931" y="5745386"/>
                </a:cubicBezTo>
                <a:cubicBezTo>
                  <a:pt x="11712123" y="5766782"/>
                  <a:pt x="11726467" y="5798293"/>
                  <a:pt x="11726059" y="5831342"/>
                </a:cubicBezTo>
                <a:cubicBezTo>
                  <a:pt x="11726059" y="5883448"/>
                  <a:pt x="11701519" y="5919375"/>
                  <a:pt x="11686582" y="5941102"/>
                </a:cubicBezTo>
                <a:cubicBezTo>
                  <a:pt x="11678958" y="5952101"/>
                  <a:pt x="11674419" y="5958561"/>
                  <a:pt x="11674342" y="5965913"/>
                </a:cubicBezTo>
                <a:cubicBezTo>
                  <a:pt x="11674342" y="5971733"/>
                  <a:pt x="11677135" y="5976641"/>
                  <a:pt x="11681655" y="5981277"/>
                </a:cubicBezTo>
                <a:cubicBezTo>
                  <a:pt x="11687535" y="5986806"/>
                  <a:pt x="11693818" y="5991890"/>
                  <a:pt x="11700453" y="5996486"/>
                </a:cubicBezTo>
                <a:cubicBezTo>
                  <a:pt x="11731491" y="6019474"/>
                  <a:pt x="11782471" y="6056972"/>
                  <a:pt x="11782491" y="6134432"/>
                </a:cubicBezTo>
                <a:cubicBezTo>
                  <a:pt x="11782491" y="6222445"/>
                  <a:pt x="11735933" y="6275928"/>
                  <a:pt x="11696825" y="6305472"/>
                </a:cubicBezTo>
                <a:cubicBezTo>
                  <a:pt x="11648560" y="6341865"/>
                  <a:pt x="11584311" y="6362777"/>
                  <a:pt x="11520760" y="6362758"/>
                </a:cubicBezTo>
                <a:cubicBezTo>
                  <a:pt x="11362018" y="6362699"/>
                  <a:pt x="11279960" y="6274454"/>
                  <a:pt x="11279960" y="6187934"/>
                </a:cubicBezTo>
                <a:cubicBezTo>
                  <a:pt x="11280066" y="6161569"/>
                  <a:pt x="11289713" y="6136135"/>
                  <a:pt x="11307119" y="6116333"/>
                </a:cubicBezTo>
                <a:cubicBezTo>
                  <a:pt x="11324578" y="6096604"/>
                  <a:pt x="11350029" y="6083354"/>
                  <a:pt x="11381902" y="6083354"/>
                </a:cubicBezTo>
                <a:cubicBezTo>
                  <a:pt x="11399710" y="6083354"/>
                  <a:pt x="11422194" y="6087525"/>
                  <a:pt x="11440099" y="6099455"/>
                </a:cubicBezTo>
                <a:cubicBezTo>
                  <a:pt x="11458004" y="6111386"/>
                  <a:pt x="11471312" y="6130921"/>
                  <a:pt x="11471351" y="6162560"/>
                </a:cubicBezTo>
                <a:cubicBezTo>
                  <a:pt x="11471351" y="6163472"/>
                  <a:pt x="11471351" y="6164500"/>
                  <a:pt x="11471351" y="6165315"/>
                </a:cubicBezTo>
                <a:cubicBezTo>
                  <a:pt x="11469560" y="6161274"/>
                  <a:pt x="11467236" y="6157489"/>
                  <a:pt x="11464445" y="6154064"/>
                </a:cubicBezTo>
                <a:cubicBezTo>
                  <a:pt x="11456747" y="6144428"/>
                  <a:pt x="11445000" y="6138927"/>
                  <a:pt x="11432669" y="6139185"/>
                </a:cubicBezTo>
                <a:cubicBezTo>
                  <a:pt x="11415617" y="6139185"/>
                  <a:pt x="11401126" y="6153152"/>
                  <a:pt x="11401088" y="6169893"/>
                </a:cubicBezTo>
                <a:cubicBezTo>
                  <a:pt x="11401188" y="6171928"/>
                  <a:pt x="11400925" y="6173965"/>
                  <a:pt x="11400312" y="6175907"/>
                </a:cubicBezTo>
                <a:cubicBezTo>
                  <a:pt x="11400216" y="6176141"/>
                  <a:pt x="11400092" y="6176363"/>
                  <a:pt x="11399943" y="6176566"/>
                </a:cubicBezTo>
                <a:cubicBezTo>
                  <a:pt x="11395792" y="6176469"/>
                  <a:pt x="11390825" y="6173598"/>
                  <a:pt x="11386907" y="6167934"/>
                </a:cubicBezTo>
                <a:cubicBezTo>
                  <a:pt x="11382106" y="6160455"/>
                  <a:pt x="11379697" y="6151693"/>
                  <a:pt x="11380001" y="6142812"/>
                </a:cubicBezTo>
                <a:cubicBezTo>
                  <a:pt x="11379998" y="6140550"/>
                  <a:pt x="11380121" y="6138290"/>
                  <a:pt x="11380369" y="6136042"/>
                </a:cubicBezTo>
                <a:lnTo>
                  <a:pt x="11380893" y="6130979"/>
                </a:lnTo>
                <a:lnTo>
                  <a:pt x="11377479" y="6134859"/>
                </a:lnTo>
                <a:cubicBezTo>
                  <a:pt x="11361417" y="6152725"/>
                  <a:pt x="11355636" y="6168865"/>
                  <a:pt x="11355636" y="6182774"/>
                </a:cubicBezTo>
                <a:cubicBezTo>
                  <a:pt x="11355636" y="6205548"/>
                  <a:pt x="11371000" y="6221766"/>
                  <a:pt x="11380059" y="6230263"/>
                </a:cubicBezTo>
                <a:cubicBezTo>
                  <a:pt x="11381747" y="6231776"/>
                  <a:pt x="11383784" y="6233677"/>
                  <a:pt x="11385374" y="6235365"/>
                </a:cubicBezTo>
                <a:cubicBezTo>
                  <a:pt x="11386067" y="6236061"/>
                  <a:pt x="11386714" y="6236798"/>
                  <a:pt x="11387314" y="6237576"/>
                </a:cubicBezTo>
                <a:cubicBezTo>
                  <a:pt x="11387507" y="6237822"/>
                  <a:pt x="11387682" y="6238082"/>
                  <a:pt x="11387838" y="6238352"/>
                </a:cubicBezTo>
                <a:lnTo>
                  <a:pt x="11387838" y="6238507"/>
                </a:lnTo>
                <a:cubicBezTo>
                  <a:pt x="11387702" y="6239322"/>
                  <a:pt x="11386034" y="6241514"/>
                  <a:pt x="11381786" y="6243202"/>
                </a:cubicBezTo>
                <a:cubicBezTo>
                  <a:pt x="11377227" y="6245142"/>
                  <a:pt x="11369933" y="6246616"/>
                  <a:pt x="11359516" y="6246616"/>
                </a:cubicBezTo>
                <a:cubicBezTo>
                  <a:pt x="11355888" y="6246616"/>
                  <a:pt x="11351892" y="6246441"/>
                  <a:pt x="11347488" y="6246034"/>
                </a:cubicBezTo>
                <a:lnTo>
                  <a:pt x="11343608" y="6245665"/>
                </a:lnTo>
                <a:lnTo>
                  <a:pt x="11346169" y="6248750"/>
                </a:lnTo>
                <a:cubicBezTo>
                  <a:pt x="11376567" y="6284987"/>
                  <a:pt x="11410186" y="6294900"/>
                  <a:pt x="11439284" y="6294881"/>
                </a:cubicBezTo>
                <a:cubicBezTo>
                  <a:pt x="11460778" y="6294881"/>
                  <a:pt x="11479847" y="6289527"/>
                  <a:pt x="11493601" y="6285686"/>
                </a:cubicBezTo>
                <a:cubicBezTo>
                  <a:pt x="11499421" y="6284037"/>
                  <a:pt x="11505958" y="6281573"/>
                  <a:pt x="11509567" y="6281631"/>
                </a:cubicBezTo>
                <a:cubicBezTo>
                  <a:pt x="11511080" y="6281631"/>
                  <a:pt x="11511701" y="6281980"/>
                  <a:pt x="11511972" y="6282407"/>
                </a:cubicBezTo>
                <a:cubicBezTo>
                  <a:pt x="11512463" y="6283237"/>
                  <a:pt x="11512686" y="6284200"/>
                  <a:pt x="11512612" y="6285162"/>
                </a:cubicBezTo>
                <a:cubicBezTo>
                  <a:pt x="11512612" y="6289352"/>
                  <a:pt x="11510149" y="6297015"/>
                  <a:pt x="11505978" y="6304871"/>
                </a:cubicBezTo>
                <a:cubicBezTo>
                  <a:pt x="11501768" y="6313038"/>
                  <a:pt x="11496236" y="6320452"/>
                  <a:pt x="11489605" y="6326811"/>
                </a:cubicBezTo>
                <a:lnTo>
                  <a:pt x="11485725" y="6330342"/>
                </a:lnTo>
                <a:lnTo>
                  <a:pt x="11490924" y="6329663"/>
                </a:lnTo>
                <a:cubicBezTo>
                  <a:pt x="11579733" y="6318256"/>
                  <a:pt x="11609258" y="6266772"/>
                  <a:pt x="11623982" y="6240234"/>
                </a:cubicBezTo>
                <a:cubicBezTo>
                  <a:pt x="11626023" y="6236265"/>
                  <a:pt x="11628271" y="6232406"/>
                  <a:pt x="11630713" y="6228672"/>
                </a:cubicBezTo>
                <a:cubicBezTo>
                  <a:pt x="11632653" y="6225704"/>
                  <a:pt x="11634690" y="6224249"/>
                  <a:pt x="11635175" y="6224424"/>
                </a:cubicBezTo>
                <a:cubicBezTo>
                  <a:pt x="11635990" y="6224424"/>
                  <a:pt x="11637348" y="6225180"/>
                  <a:pt x="11638803" y="6227372"/>
                </a:cubicBezTo>
                <a:cubicBezTo>
                  <a:pt x="11643187" y="6233832"/>
                  <a:pt x="11646853" y="6250050"/>
                  <a:pt x="11646814" y="6266927"/>
                </a:cubicBezTo>
                <a:cubicBezTo>
                  <a:pt x="11646861" y="6274240"/>
                  <a:pt x="11646128" y="6281536"/>
                  <a:pt x="11644622" y="6288692"/>
                </a:cubicBezTo>
                <a:lnTo>
                  <a:pt x="11643517" y="6293833"/>
                </a:lnTo>
                <a:lnTo>
                  <a:pt x="11647396" y="6290244"/>
                </a:lnTo>
                <a:cubicBezTo>
                  <a:pt x="11680918" y="6259206"/>
                  <a:pt x="11690074" y="6226577"/>
                  <a:pt x="11690074" y="6199418"/>
                </a:cubicBezTo>
                <a:cubicBezTo>
                  <a:pt x="11690074" y="6178584"/>
                  <a:pt x="11684720" y="6160970"/>
                  <a:pt x="11680995" y="6149563"/>
                </a:cubicBezTo>
                <a:cubicBezTo>
                  <a:pt x="11678939" y="6143258"/>
                  <a:pt x="11677232" y="6137594"/>
                  <a:pt x="11677251" y="6134956"/>
                </a:cubicBezTo>
                <a:cubicBezTo>
                  <a:pt x="11677110" y="6133561"/>
                  <a:pt x="11677409" y="6132156"/>
                  <a:pt x="11678105" y="6130940"/>
                </a:cubicBezTo>
                <a:cubicBezTo>
                  <a:pt x="11678786" y="6130209"/>
                  <a:pt x="11679696" y="6129729"/>
                  <a:pt x="11680685" y="6129582"/>
                </a:cubicBezTo>
                <a:cubicBezTo>
                  <a:pt x="11694846" y="6129582"/>
                  <a:pt x="11711723" y="6134684"/>
                  <a:pt x="11731821" y="6144267"/>
                </a:cubicBezTo>
                <a:lnTo>
                  <a:pt x="11735700" y="6146207"/>
                </a:lnTo>
                <a:lnTo>
                  <a:pt x="11733993" y="6142191"/>
                </a:lnTo>
                <a:cubicBezTo>
                  <a:pt x="11706621" y="6078175"/>
                  <a:pt x="11645689" y="6050667"/>
                  <a:pt x="11586328" y="6035691"/>
                </a:cubicBezTo>
                <a:cubicBezTo>
                  <a:pt x="11556609" y="6028164"/>
                  <a:pt x="11527220" y="6023761"/>
                  <a:pt x="11502486" y="6019493"/>
                </a:cubicBezTo>
                <a:lnTo>
                  <a:pt x="11502467" y="6019396"/>
                </a:lnTo>
                <a:cubicBezTo>
                  <a:pt x="11484464" y="6016292"/>
                  <a:pt x="11468887" y="6013208"/>
                  <a:pt x="11457577" y="6009153"/>
                </a:cubicBezTo>
                <a:cubicBezTo>
                  <a:pt x="11455637" y="6008338"/>
                  <a:pt x="11453833" y="6007485"/>
                  <a:pt x="11452010" y="6006651"/>
                </a:cubicBezTo>
                <a:cubicBezTo>
                  <a:pt x="11485919" y="6002383"/>
                  <a:pt x="11526871" y="5978483"/>
                  <a:pt x="11563205" y="5955147"/>
                </a:cubicBezTo>
                <a:cubicBezTo>
                  <a:pt x="11574641" y="5947637"/>
                  <a:pt x="11585572" y="5939389"/>
                  <a:pt x="11595931" y="5930452"/>
                </a:cubicBezTo>
                <a:cubicBezTo>
                  <a:pt x="11600354" y="5926785"/>
                  <a:pt x="11604466" y="5923371"/>
                  <a:pt x="11607958" y="5920946"/>
                </a:cubicBezTo>
                <a:cubicBezTo>
                  <a:pt x="11611450" y="5918521"/>
                  <a:pt x="11614321" y="5917066"/>
                  <a:pt x="11615718" y="5917066"/>
                </a:cubicBezTo>
                <a:cubicBezTo>
                  <a:pt x="11617031" y="5917105"/>
                  <a:pt x="11618259" y="5917722"/>
                  <a:pt x="11619074" y="5918754"/>
                </a:cubicBezTo>
                <a:cubicBezTo>
                  <a:pt x="11622410" y="5922343"/>
                  <a:pt x="11624389" y="5932333"/>
                  <a:pt x="11624331" y="5943139"/>
                </a:cubicBezTo>
                <a:cubicBezTo>
                  <a:pt x="11624337" y="5951775"/>
                  <a:pt x="11623221" y="5960376"/>
                  <a:pt x="11621014" y="5968726"/>
                </a:cubicBezTo>
                <a:lnTo>
                  <a:pt x="11619830" y="5972935"/>
                </a:lnTo>
                <a:lnTo>
                  <a:pt x="11623497" y="5970569"/>
                </a:lnTo>
                <a:cubicBezTo>
                  <a:pt x="11652343" y="5952004"/>
                  <a:pt x="11666175" y="5923895"/>
                  <a:pt x="11666175" y="5897532"/>
                </a:cubicBezTo>
                <a:cubicBezTo>
                  <a:pt x="11666175" y="5871168"/>
                  <a:pt x="11651528" y="5854621"/>
                  <a:pt x="11642081" y="5844049"/>
                </a:cubicBezTo>
                <a:cubicBezTo>
                  <a:pt x="11640626" y="5842419"/>
                  <a:pt x="11638938" y="5840499"/>
                  <a:pt x="11637580" y="5838811"/>
                </a:cubicBezTo>
                <a:cubicBezTo>
                  <a:pt x="11636764" y="5837801"/>
                  <a:pt x="11636025" y="5836731"/>
                  <a:pt x="11635369" y="5835610"/>
                </a:cubicBezTo>
                <a:cubicBezTo>
                  <a:pt x="11635891" y="5834304"/>
                  <a:pt x="11636806" y="5833192"/>
                  <a:pt x="11637988" y="5832429"/>
                </a:cubicBezTo>
                <a:cubicBezTo>
                  <a:pt x="11644040" y="5827889"/>
                  <a:pt x="11654341" y="5825096"/>
                  <a:pt x="11666310" y="5825096"/>
                </a:cubicBezTo>
                <a:cubicBezTo>
                  <a:pt x="11672784" y="5825117"/>
                  <a:pt x="11679232" y="5825872"/>
                  <a:pt x="11685535" y="5827346"/>
                </a:cubicBezTo>
                <a:lnTo>
                  <a:pt x="11690055" y="5828374"/>
                </a:lnTo>
                <a:lnTo>
                  <a:pt x="11687203" y="5824708"/>
                </a:lnTo>
                <a:cubicBezTo>
                  <a:pt x="11662392" y="5792797"/>
                  <a:pt x="11633856" y="5783621"/>
                  <a:pt x="11608424" y="5783660"/>
                </a:cubicBezTo>
                <a:cubicBezTo>
                  <a:pt x="11588404" y="5783660"/>
                  <a:pt x="11570285" y="5789247"/>
                  <a:pt x="11557075" y="5793573"/>
                </a:cubicBezTo>
                <a:cubicBezTo>
                  <a:pt x="11550634" y="5795668"/>
                  <a:pt x="11541711" y="5798442"/>
                  <a:pt x="11537889" y="5798403"/>
                </a:cubicBezTo>
                <a:cubicBezTo>
                  <a:pt x="11537538" y="5798409"/>
                  <a:pt x="11537187" y="5798376"/>
                  <a:pt x="11536842" y="5798306"/>
                </a:cubicBezTo>
                <a:cubicBezTo>
                  <a:pt x="11536842" y="5793670"/>
                  <a:pt x="11540275" y="5785813"/>
                  <a:pt x="11546657" y="5777510"/>
                </a:cubicBezTo>
                <a:cubicBezTo>
                  <a:pt x="11554499" y="5767466"/>
                  <a:pt x="11564151" y="5758979"/>
                  <a:pt x="11575116" y="5752486"/>
                </a:cubicBezTo>
                <a:lnTo>
                  <a:pt x="11579597" y="5749789"/>
                </a:lnTo>
                <a:lnTo>
                  <a:pt x="11574456" y="5749517"/>
                </a:lnTo>
                <a:cubicBezTo>
                  <a:pt x="11572187" y="5749343"/>
                  <a:pt x="11569839" y="5749265"/>
                  <a:pt x="11567492" y="5749265"/>
                </a:cubicBezTo>
                <a:cubicBezTo>
                  <a:pt x="11516259" y="5749304"/>
                  <a:pt x="11450419" y="5786376"/>
                  <a:pt x="11401805" y="5811594"/>
                </a:cubicBezTo>
                <a:cubicBezTo>
                  <a:pt x="11371465" y="5827113"/>
                  <a:pt x="11307817" y="5864107"/>
                  <a:pt x="11288670" y="5852720"/>
                </a:cubicBezTo>
                <a:cubicBezTo>
                  <a:pt x="11285470" y="5850780"/>
                  <a:pt x="11283413" y="5848840"/>
                  <a:pt x="11283413" y="5845698"/>
                </a:cubicBezTo>
                <a:cubicBezTo>
                  <a:pt x="11283413" y="5837259"/>
                  <a:pt x="11291425" y="5823757"/>
                  <a:pt x="11306265" y="5808995"/>
                </a:cubicBezTo>
                <a:cubicBezTo>
                  <a:pt x="11350650" y="5764474"/>
                  <a:pt x="11453523" y="5707131"/>
                  <a:pt x="11560082" y="5707189"/>
                </a:cubicBezTo>
                <a:close/>
                <a:moveTo>
                  <a:pt x="11560082" y="5683561"/>
                </a:moveTo>
                <a:cubicBezTo>
                  <a:pt x="11494009" y="5683561"/>
                  <a:pt x="11419594" y="5705268"/>
                  <a:pt x="11355248" y="5743271"/>
                </a:cubicBezTo>
                <a:cubicBezTo>
                  <a:pt x="11326460" y="5760381"/>
                  <a:pt x="11302735" y="5778810"/>
                  <a:pt x="11286090" y="5796502"/>
                </a:cubicBezTo>
                <a:cubicBezTo>
                  <a:pt x="11269446" y="5814194"/>
                  <a:pt x="11259902" y="5831110"/>
                  <a:pt x="11259863" y="5845678"/>
                </a:cubicBezTo>
                <a:cubicBezTo>
                  <a:pt x="11259824" y="5852705"/>
                  <a:pt x="11262663" y="5859442"/>
                  <a:pt x="11267720" y="5864321"/>
                </a:cubicBezTo>
                <a:cubicBezTo>
                  <a:pt x="11277109" y="5873574"/>
                  <a:pt x="11293753" y="5877900"/>
                  <a:pt x="11315014" y="5880131"/>
                </a:cubicBezTo>
                <a:cubicBezTo>
                  <a:pt x="11336276" y="5882362"/>
                  <a:pt x="11362193" y="5882439"/>
                  <a:pt x="11390088" y="5882439"/>
                </a:cubicBezTo>
                <a:lnTo>
                  <a:pt x="11395074" y="5882439"/>
                </a:lnTo>
                <a:cubicBezTo>
                  <a:pt x="11438081" y="5882439"/>
                  <a:pt x="11468460" y="5883603"/>
                  <a:pt x="11487898" y="5886319"/>
                </a:cubicBezTo>
                <a:cubicBezTo>
                  <a:pt x="11497597" y="5887735"/>
                  <a:pt x="11504581" y="5889597"/>
                  <a:pt x="11508907" y="5891789"/>
                </a:cubicBezTo>
                <a:cubicBezTo>
                  <a:pt x="11513233" y="5893982"/>
                  <a:pt x="11514727" y="5896212"/>
                  <a:pt x="11514727" y="5898657"/>
                </a:cubicBezTo>
                <a:cubicBezTo>
                  <a:pt x="11514727" y="5899665"/>
                  <a:pt x="11513621" y="5901935"/>
                  <a:pt x="11510963" y="5904476"/>
                </a:cubicBezTo>
                <a:cubicBezTo>
                  <a:pt x="11501671" y="5913788"/>
                  <a:pt x="11477287" y="5927600"/>
                  <a:pt x="11455346" y="5942789"/>
                </a:cubicBezTo>
                <a:cubicBezTo>
                  <a:pt x="11444887" y="5949732"/>
                  <a:pt x="11435140" y="5957692"/>
                  <a:pt x="11426248" y="5966553"/>
                </a:cubicBezTo>
                <a:cubicBezTo>
                  <a:pt x="11418488" y="5974701"/>
                  <a:pt x="11413309" y="5983042"/>
                  <a:pt x="11413231" y="5991655"/>
                </a:cubicBezTo>
                <a:lnTo>
                  <a:pt x="11413231" y="5992063"/>
                </a:lnTo>
                <a:cubicBezTo>
                  <a:pt x="11413231" y="6003004"/>
                  <a:pt x="11419051" y="6011772"/>
                  <a:pt x="11427936" y="6018542"/>
                </a:cubicBezTo>
                <a:cubicBezTo>
                  <a:pt x="11454609" y="6039008"/>
                  <a:pt x="11509858" y="6044362"/>
                  <a:pt x="11538762" y="6049581"/>
                </a:cubicBezTo>
                <a:cubicBezTo>
                  <a:pt x="11556590" y="6052820"/>
                  <a:pt x="11566037" y="6059164"/>
                  <a:pt x="11571158" y="6066050"/>
                </a:cubicBezTo>
                <a:cubicBezTo>
                  <a:pt x="11575438" y="6072281"/>
                  <a:pt x="11577564" y="6079740"/>
                  <a:pt x="11577211" y="6087292"/>
                </a:cubicBezTo>
                <a:cubicBezTo>
                  <a:pt x="11577211" y="6112065"/>
                  <a:pt x="11568016" y="6133850"/>
                  <a:pt x="11551507" y="6148884"/>
                </a:cubicBezTo>
                <a:cubicBezTo>
                  <a:pt x="11536861" y="6162463"/>
                  <a:pt x="11519169" y="6171076"/>
                  <a:pt x="11493407" y="6171115"/>
                </a:cubicBezTo>
                <a:lnTo>
                  <a:pt x="11490342" y="6171115"/>
                </a:lnTo>
                <a:cubicBezTo>
                  <a:pt x="11490938" y="6166314"/>
                  <a:pt x="11491242" y="6161482"/>
                  <a:pt x="11491254" y="6156644"/>
                </a:cubicBezTo>
                <a:cubicBezTo>
                  <a:pt x="11491196" y="6127797"/>
                  <a:pt x="11479712" y="6103374"/>
                  <a:pt x="11460254" y="6086497"/>
                </a:cubicBezTo>
                <a:cubicBezTo>
                  <a:pt x="11440855" y="6069620"/>
                  <a:pt x="11413425" y="6060114"/>
                  <a:pt x="11381689" y="6060114"/>
                </a:cubicBezTo>
                <a:cubicBezTo>
                  <a:pt x="11342522" y="6060114"/>
                  <a:pt x="11311096" y="6076371"/>
                  <a:pt x="11289563" y="6100484"/>
                </a:cubicBezTo>
                <a:cubicBezTo>
                  <a:pt x="11268236" y="6124633"/>
                  <a:pt x="11256418" y="6155714"/>
                  <a:pt x="11256313" y="6187934"/>
                </a:cubicBezTo>
                <a:cubicBezTo>
                  <a:pt x="11256313" y="6237401"/>
                  <a:pt x="11279146" y="6287102"/>
                  <a:pt x="11323608" y="6324348"/>
                </a:cubicBezTo>
                <a:cubicBezTo>
                  <a:pt x="11368071" y="6361594"/>
                  <a:pt x="11434182" y="6386424"/>
                  <a:pt x="11520760" y="6386424"/>
                </a:cubicBezTo>
                <a:cubicBezTo>
                  <a:pt x="11589374" y="6386424"/>
                  <a:pt x="11658590" y="6363766"/>
                  <a:pt x="11710967" y="6324348"/>
                </a:cubicBezTo>
                <a:cubicBezTo>
                  <a:pt x="11754362" y="6291660"/>
                  <a:pt x="11806216" y="6232086"/>
                  <a:pt x="11806196" y="6134354"/>
                </a:cubicBezTo>
                <a:cubicBezTo>
                  <a:pt x="11806196" y="6044925"/>
                  <a:pt x="11746176" y="6000734"/>
                  <a:pt x="11714556" y="5977475"/>
                </a:cubicBezTo>
                <a:cubicBezTo>
                  <a:pt x="11709149" y="5973692"/>
                  <a:pt x="11703968" y="5969599"/>
                  <a:pt x="11699036" y="5965215"/>
                </a:cubicBezTo>
                <a:cubicBezTo>
                  <a:pt x="11700666" y="5962382"/>
                  <a:pt x="11703576" y="5958018"/>
                  <a:pt x="11706195" y="5954312"/>
                </a:cubicBezTo>
                <a:cubicBezTo>
                  <a:pt x="11721384" y="5932314"/>
                  <a:pt x="11749842" y="5890684"/>
                  <a:pt x="11749842" y="5831284"/>
                </a:cubicBezTo>
                <a:cubicBezTo>
                  <a:pt x="11750048" y="5793639"/>
                  <a:pt x="11734663" y="5757587"/>
                  <a:pt x="11707339" y="5731690"/>
                </a:cubicBezTo>
                <a:cubicBezTo>
                  <a:pt x="11677271" y="5703309"/>
                  <a:pt x="11629743" y="5683561"/>
                  <a:pt x="11560082" y="5683561"/>
                </a:cubicBezTo>
                <a:close/>
                <a:moveTo>
                  <a:pt x="0" y="0"/>
                </a:moveTo>
                <a:lnTo>
                  <a:pt x="5718175" y="0"/>
                </a:lnTo>
                <a:lnTo>
                  <a:pt x="5718175" y="2"/>
                </a:lnTo>
                <a:lnTo>
                  <a:pt x="12192000" y="2"/>
                </a:lnTo>
                <a:lnTo>
                  <a:pt x="12192000" y="6858001"/>
                </a:lnTo>
                <a:lnTo>
                  <a:pt x="5087938" y="6858001"/>
                </a:lnTo>
                <a:lnTo>
                  <a:pt x="5087938" y="6857998"/>
                </a:lnTo>
                <a:lnTo>
                  <a:pt x="0" y="6857998"/>
                </a:lnTo>
                <a:close/>
              </a:path>
            </a:pathLst>
          </a:custGeom>
          <a:solidFill>
            <a:schemeClr val="bg1">
              <a:lumMod val="95000"/>
            </a:schemeClr>
          </a:solidFill>
        </p:spPr>
        <p:txBody>
          <a:bodyPr wrap="square">
            <a:noAutofit/>
          </a:bodyPr>
          <a:lstStyle/>
          <a:p>
            <a:r>
              <a:rPr lang="sv-SE"/>
              <a:t>Klicka på ikonen för att lägga till en bild</a:t>
            </a:r>
          </a:p>
        </p:txBody>
      </p:sp>
      <p:sp>
        <p:nvSpPr>
          <p:cNvPr id="2" name="Title 1">
            <a:extLst>
              <a:ext uri="{FF2B5EF4-FFF2-40B4-BE49-F238E27FC236}">
                <a16:creationId xmlns:a16="http://schemas.microsoft.com/office/drawing/2014/main" id="{D442F299-B172-417B-8E5F-CD5E11314A8D}"/>
              </a:ext>
            </a:extLst>
          </p:cNvPr>
          <p:cNvSpPr>
            <a:spLocks noGrp="1"/>
          </p:cNvSpPr>
          <p:nvPr>
            <p:ph type="title"/>
          </p:nvPr>
        </p:nvSpPr>
        <p:spPr/>
        <p:txBody>
          <a:bodyPr/>
          <a:lstStyle/>
          <a:p>
            <a:r>
              <a:rPr lang="sv-SE"/>
              <a:t>Klicka här för att ändra mall för rubrikformat</a:t>
            </a:r>
            <a:endParaRPr lang="sv-SE" dirty="0"/>
          </a:p>
        </p:txBody>
      </p:sp>
      <p:sp>
        <p:nvSpPr>
          <p:cNvPr id="7" name="Date Placeholder 6">
            <a:extLst>
              <a:ext uri="{FF2B5EF4-FFF2-40B4-BE49-F238E27FC236}">
                <a16:creationId xmlns:a16="http://schemas.microsoft.com/office/drawing/2014/main" id="{D0787942-6EB5-4F29-AAEF-BC1E306D163C}"/>
              </a:ext>
            </a:extLst>
          </p:cNvPr>
          <p:cNvSpPr>
            <a:spLocks noGrp="1"/>
          </p:cNvSpPr>
          <p:nvPr>
            <p:ph type="dt" sz="half" idx="15"/>
          </p:nvPr>
        </p:nvSpPr>
        <p:spPr/>
        <p:txBody>
          <a:bodyPr/>
          <a:lstStyle/>
          <a:p>
            <a:fld id="{0BF1C384-8746-46B2-BAFB-C003B9454EF4}" type="datetime1">
              <a:rPr lang="sv-SE" smtClean="0"/>
              <a:t>2024-08-20</a:t>
            </a:fld>
            <a:endParaRPr lang="sv-SE" dirty="0"/>
          </a:p>
        </p:txBody>
      </p:sp>
      <p:sp>
        <p:nvSpPr>
          <p:cNvPr id="8" name="Footer Placeholder 7">
            <a:extLst>
              <a:ext uri="{FF2B5EF4-FFF2-40B4-BE49-F238E27FC236}">
                <a16:creationId xmlns:a16="http://schemas.microsoft.com/office/drawing/2014/main" id="{9283235E-1E2D-4C71-A661-1FA33899CB38}"/>
              </a:ext>
            </a:extLst>
          </p:cNvPr>
          <p:cNvSpPr>
            <a:spLocks noGrp="1"/>
          </p:cNvSpPr>
          <p:nvPr>
            <p:ph type="ftr" sz="quarter" idx="16"/>
          </p:nvPr>
        </p:nvSpPr>
        <p:spPr/>
        <p:txBody>
          <a:bodyPr/>
          <a:lstStyle/>
          <a:p>
            <a:r>
              <a:rPr lang="sv-SE" sz="900" dirty="0"/>
              <a:t>Namn på presentation</a:t>
            </a:r>
          </a:p>
        </p:txBody>
      </p:sp>
      <p:sp>
        <p:nvSpPr>
          <p:cNvPr id="10" name="Slide Number Placeholder 9">
            <a:extLst>
              <a:ext uri="{FF2B5EF4-FFF2-40B4-BE49-F238E27FC236}">
                <a16:creationId xmlns:a16="http://schemas.microsoft.com/office/drawing/2014/main" id="{BFBB626C-33B1-459A-BEAE-CC1DC9775797}"/>
              </a:ext>
            </a:extLst>
          </p:cNvPr>
          <p:cNvSpPr>
            <a:spLocks noGrp="1"/>
          </p:cNvSpPr>
          <p:nvPr>
            <p:ph type="sldNum" sz="quarter" idx="17"/>
          </p:nvPr>
        </p:nvSpPr>
        <p:spPr/>
        <p:txBody>
          <a:bodyPr/>
          <a:lstStyle/>
          <a:p>
            <a:fld id="{AE086683-F536-42AB-ABBC-F4803DFE8DBC}" type="slidenum">
              <a:rPr lang="sv-SE" smtClean="0"/>
              <a:pPr/>
              <a:t>‹#›</a:t>
            </a:fld>
            <a:endParaRPr lang="sv-SE" dirty="0"/>
          </a:p>
        </p:txBody>
      </p:sp>
    </p:spTree>
    <p:extLst>
      <p:ext uri="{BB962C8B-B14F-4D97-AF65-F5344CB8AC3E}">
        <p14:creationId xmlns:p14="http://schemas.microsoft.com/office/powerpoint/2010/main" val="3910355590"/>
      </p:ext>
    </p:extLst>
  </p:cSld>
  <p:clrMapOvr>
    <a:masterClrMapping/>
  </p:clrMapOvr>
  <p:extLst>
    <p:ext uri="{DCECCB84-F9BA-43D5-87BE-67443E8EF086}">
      <p15:sldGuideLst xmlns:p15="http://schemas.microsoft.com/office/powerpoint/2012/main">
        <p15:guide id="1" pos="3840" userDrawn="1">
          <p15:clr>
            <a:srgbClr val="FBAE40"/>
          </p15:clr>
        </p15:guide>
        <p15:guide id="2" pos="2570" userDrawn="1">
          <p15:clr>
            <a:srgbClr val="FBAE40"/>
          </p15:clr>
        </p15:guide>
        <p15:guide id="3" pos="5110" userDrawn="1">
          <p15:clr>
            <a:srgbClr val="FBAE40"/>
          </p15:clr>
        </p15:guide>
        <p15:guide id="4" pos="4475" userDrawn="1">
          <p15:clr>
            <a:srgbClr val="FBAE40"/>
          </p15:clr>
        </p15:guide>
        <p15:guide id="5" pos="3205" userDrawn="1">
          <p15:clr>
            <a:srgbClr val="FBAE40"/>
          </p15:clr>
        </p15:guide>
        <p15:guide id="6" pos="1935" userDrawn="1">
          <p15:clr>
            <a:srgbClr val="FBAE40"/>
          </p15:clr>
        </p15:guide>
        <p15:guide id="7" pos="57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15A51B-F5FD-46C6-BB50-13243C98858E}"/>
              </a:ext>
            </a:extLst>
          </p:cNvPr>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0D17F852-2405-43B5-8AA8-1DF9E051EB6B}"/>
              </a:ext>
            </a:extLst>
          </p:cNvPr>
          <p:cNvSpPr>
            <a:spLocks noGrp="1"/>
          </p:cNvSpPr>
          <p:nvPr>
            <p:ph sz="half" idx="1"/>
          </p:nvPr>
        </p:nvSpPr>
        <p:spPr>
          <a:xfrm>
            <a:off x="803276" y="2205652"/>
            <a:ext cx="5216524" cy="339158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C4315BF-6788-4811-BD10-03E568815C6E}"/>
              </a:ext>
            </a:extLst>
          </p:cNvPr>
          <p:cNvSpPr>
            <a:spLocks noGrp="1"/>
          </p:cNvSpPr>
          <p:nvPr>
            <p:ph sz="half" idx="2"/>
          </p:nvPr>
        </p:nvSpPr>
        <p:spPr>
          <a:xfrm>
            <a:off x="6172200" y="2205038"/>
            <a:ext cx="5216524" cy="33921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a:extLst>
              <a:ext uri="{FF2B5EF4-FFF2-40B4-BE49-F238E27FC236}">
                <a16:creationId xmlns:a16="http://schemas.microsoft.com/office/drawing/2014/main" id="{7E023E9F-EE8E-4686-A61E-65C066F9D370}"/>
              </a:ext>
            </a:extLst>
          </p:cNvPr>
          <p:cNvSpPr>
            <a:spLocks noGrp="1"/>
          </p:cNvSpPr>
          <p:nvPr>
            <p:ph type="dt" sz="half" idx="10"/>
          </p:nvPr>
        </p:nvSpPr>
        <p:spPr/>
        <p:txBody>
          <a:bodyPr/>
          <a:lstStyle/>
          <a:p>
            <a:fld id="{8F99F346-5D17-4A48-9B3C-851364EB7C8A}" type="datetime1">
              <a:rPr lang="sv-SE" smtClean="0"/>
              <a:t>2024-08-20</a:t>
            </a:fld>
            <a:endParaRPr lang="sv-SE" dirty="0"/>
          </a:p>
        </p:txBody>
      </p:sp>
      <p:sp>
        <p:nvSpPr>
          <p:cNvPr id="6" name="Platshållare för sidfot 5">
            <a:extLst>
              <a:ext uri="{FF2B5EF4-FFF2-40B4-BE49-F238E27FC236}">
                <a16:creationId xmlns:a16="http://schemas.microsoft.com/office/drawing/2014/main" id="{592EB582-82DF-4136-A89A-70895B14CB05}"/>
              </a:ext>
            </a:extLst>
          </p:cNvPr>
          <p:cNvSpPr>
            <a:spLocks noGrp="1"/>
          </p:cNvSpPr>
          <p:nvPr>
            <p:ph type="ftr" sz="quarter" idx="11"/>
          </p:nvPr>
        </p:nvSpPr>
        <p:spPr/>
        <p:txBody>
          <a:bodyPr/>
          <a:lstStyle/>
          <a:p>
            <a:r>
              <a:rPr lang="sv-SE" dirty="0"/>
              <a:t>Namn på presentation</a:t>
            </a:r>
          </a:p>
        </p:txBody>
      </p:sp>
      <p:sp>
        <p:nvSpPr>
          <p:cNvPr id="7" name="Platshållare för bildnummer 6">
            <a:extLst>
              <a:ext uri="{FF2B5EF4-FFF2-40B4-BE49-F238E27FC236}">
                <a16:creationId xmlns:a16="http://schemas.microsoft.com/office/drawing/2014/main" id="{4E1407E4-D3DA-4115-93A1-70F0BE9C57B6}"/>
              </a:ext>
            </a:extLst>
          </p:cNvPr>
          <p:cNvSpPr>
            <a:spLocks noGrp="1"/>
          </p:cNvSpPr>
          <p:nvPr>
            <p:ph type="sldNum" sz="quarter" idx="12"/>
          </p:nvPr>
        </p:nvSpPr>
        <p:spPr/>
        <p:txBody>
          <a:bodyPr/>
          <a:lstStyle/>
          <a:p>
            <a:fld id="{AE086683-F536-42AB-ABBC-F4803DFE8DBC}" type="slidenum">
              <a:rPr lang="sv-SE" smtClean="0"/>
              <a:t>‹#›</a:t>
            </a:fld>
            <a:endParaRPr lang="sv-SE" dirty="0"/>
          </a:p>
        </p:txBody>
      </p:sp>
    </p:spTree>
    <p:extLst>
      <p:ext uri="{BB962C8B-B14F-4D97-AF65-F5344CB8AC3E}">
        <p14:creationId xmlns:p14="http://schemas.microsoft.com/office/powerpoint/2010/main" val="31430307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6E8E20-853D-14D1-2C4C-1955FF5F03DE}"/>
              </a:ext>
            </a:extLst>
          </p:cNvPr>
          <p:cNvGraphicFramePr>
            <a:graphicFrameLocks noChangeAspect="1"/>
          </p:cNvGraphicFramePr>
          <p:nvPr userDrawn="1">
            <p:custDataLst>
              <p:tags r:id="rId29"/>
            </p:custDataLst>
            <p:extLst>
              <p:ext uri="{D42A27DB-BD31-4B8C-83A1-F6EECF244321}">
                <p14:modId xmlns:p14="http://schemas.microsoft.com/office/powerpoint/2010/main" val="16803760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8" name="think-cell data - do not delete" hidden="1">
                        <a:extLst>
                          <a:ext uri="{FF2B5EF4-FFF2-40B4-BE49-F238E27FC236}">
                            <a16:creationId xmlns:a16="http://schemas.microsoft.com/office/drawing/2014/main" id="{6C6E8E20-853D-14D1-2C4C-1955FF5F03DE}"/>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152683E2-9A31-4B47-ACFE-390B6E0AF714}"/>
              </a:ext>
            </a:extLst>
          </p:cNvPr>
          <p:cNvSpPr>
            <a:spLocks noGrp="1"/>
          </p:cNvSpPr>
          <p:nvPr>
            <p:ph type="title"/>
          </p:nvPr>
        </p:nvSpPr>
        <p:spPr>
          <a:xfrm>
            <a:off x="803276" y="1088502"/>
            <a:ext cx="10585450" cy="900112"/>
          </a:xfrm>
          <a:prstGeom prst="rect">
            <a:avLst/>
          </a:prstGeom>
        </p:spPr>
        <p:txBody>
          <a:bodyPr vert="horz" lIns="0" tIns="0" rIns="0" bIns="0" rtlCol="0" anchor="t">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81C0710F-3CB3-4F01-9977-A1A69928F1E2}"/>
              </a:ext>
            </a:extLst>
          </p:cNvPr>
          <p:cNvSpPr>
            <a:spLocks noGrp="1"/>
          </p:cNvSpPr>
          <p:nvPr>
            <p:ph type="body" idx="1"/>
          </p:nvPr>
        </p:nvSpPr>
        <p:spPr>
          <a:xfrm>
            <a:off x="803275" y="2205038"/>
            <a:ext cx="10333039" cy="3971924"/>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a:p>
            <a:pPr lvl="5"/>
            <a:r>
              <a:rPr lang="sv-SE" dirty="0"/>
              <a:t>Nivå 6</a:t>
            </a:r>
          </a:p>
          <a:p>
            <a:pPr lvl="6"/>
            <a:r>
              <a:rPr lang="sv-SE" dirty="0"/>
              <a:t>Nivå 7</a:t>
            </a:r>
          </a:p>
          <a:p>
            <a:pPr lvl="7"/>
            <a:r>
              <a:rPr lang="sv-SE" dirty="0"/>
              <a:t>Nivå 8</a:t>
            </a:r>
          </a:p>
          <a:p>
            <a:pPr lvl="8"/>
            <a:r>
              <a:rPr lang="sv-SE" dirty="0"/>
              <a:t>Nivå 9</a:t>
            </a:r>
          </a:p>
        </p:txBody>
      </p:sp>
      <p:sp>
        <p:nvSpPr>
          <p:cNvPr id="4" name="Platshållare för datum 3">
            <a:extLst>
              <a:ext uri="{FF2B5EF4-FFF2-40B4-BE49-F238E27FC236}">
                <a16:creationId xmlns:a16="http://schemas.microsoft.com/office/drawing/2014/main" id="{907D54BB-8EC7-458A-A082-8AF4306364DF}"/>
              </a:ext>
            </a:extLst>
          </p:cNvPr>
          <p:cNvSpPr>
            <a:spLocks noGrp="1"/>
          </p:cNvSpPr>
          <p:nvPr>
            <p:ph type="dt" sz="half" idx="2"/>
          </p:nvPr>
        </p:nvSpPr>
        <p:spPr>
          <a:xfrm>
            <a:off x="515938" y="6486207"/>
            <a:ext cx="2743200" cy="100289"/>
          </a:xfrm>
          <a:prstGeom prst="rect">
            <a:avLst/>
          </a:prstGeom>
        </p:spPr>
        <p:txBody>
          <a:bodyPr vert="horz" lIns="0" tIns="0" rIns="0" bIns="0" rtlCol="0" anchor="t">
            <a:noAutofit/>
          </a:bodyPr>
          <a:lstStyle>
            <a:lvl1pPr algn="l">
              <a:defRPr sz="800" i="0">
                <a:solidFill>
                  <a:schemeClr val="tx2"/>
                </a:solidFill>
              </a:defRPr>
            </a:lvl1pPr>
          </a:lstStyle>
          <a:p>
            <a:fld id="{0BF29FF5-F218-464D-877E-7C75CECC9527}" type="datetime1">
              <a:rPr lang="sv-SE" smtClean="0"/>
              <a:t>2024-08-20</a:t>
            </a:fld>
            <a:endParaRPr lang="sv-SE" dirty="0"/>
          </a:p>
        </p:txBody>
      </p:sp>
      <p:sp>
        <p:nvSpPr>
          <p:cNvPr id="5" name="Platshållare för sidfot 4">
            <a:extLst>
              <a:ext uri="{FF2B5EF4-FFF2-40B4-BE49-F238E27FC236}">
                <a16:creationId xmlns:a16="http://schemas.microsoft.com/office/drawing/2014/main" id="{5C0A3ABB-C906-40E9-AF35-0DB0B3403226}"/>
              </a:ext>
            </a:extLst>
          </p:cNvPr>
          <p:cNvSpPr>
            <a:spLocks noGrp="1"/>
          </p:cNvSpPr>
          <p:nvPr>
            <p:ph type="ftr" sz="quarter" idx="3"/>
          </p:nvPr>
        </p:nvSpPr>
        <p:spPr>
          <a:xfrm>
            <a:off x="515937" y="6345239"/>
            <a:ext cx="3563938" cy="132678"/>
          </a:xfrm>
          <a:prstGeom prst="rect">
            <a:avLst/>
          </a:prstGeom>
        </p:spPr>
        <p:txBody>
          <a:bodyPr vert="horz" lIns="0" tIns="0" rIns="0" bIns="0" rtlCol="0" anchor="ctr">
            <a:noAutofit/>
          </a:bodyPr>
          <a:lstStyle>
            <a:lvl1pPr algn="l">
              <a:defRPr sz="900" b="1">
                <a:solidFill>
                  <a:schemeClr val="tx1"/>
                </a:solidFill>
              </a:defRPr>
            </a:lvl1pPr>
          </a:lstStyle>
          <a:p>
            <a:r>
              <a:rPr lang="sv-SE" dirty="0"/>
              <a:t>Namn på presentation</a:t>
            </a:r>
          </a:p>
        </p:txBody>
      </p:sp>
      <p:sp>
        <p:nvSpPr>
          <p:cNvPr id="6" name="Platshållare för bildnummer 5">
            <a:extLst>
              <a:ext uri="{FF2B5EF4-FFF2-40B4-BE49-F238E27FC236}">
                <a16:creationId xmlns:a16="http://schemas.microsoft.com/office/drawing/2014/main" id="{37249AA9-CC7D-40E0-9894-3652F2EE8CF5}"/>
              </a:ext>
            </a:extLst>
          </p:cNvPr>
          <p:cNvSpPr>
            <a:spLocks noGrp="1"/>
          </p:cNvSpPr>
          <p:nvPr>
            <p:ph type="sldNum" sz="quarter" idx="4"/>
          </p:nvPr>
        </p:nvSpPr>
        <p:spPr>
          <a:xfrm>
            <a:off x="5916000" y="6356350"/>
            <a:ext cx="360000" cy="360000"/>
          </a:xfrm>
          <a:prstGeom prst="ellipse">
            <a:avLst/>
          </a:prstGeom>
          <a:solidFill>
            <a:schemeClr val="bg1"/>
          </a:solidFill>
        </p:spPr>
        <p:txBody>
          <a:bodyPr vert="horz" lIns="0" tIns="0" rIns="0" bIns="0" rtlCol="0" anchor="ctr">
            <a:noAutofit/>
          </a:bodyPr>
          <a:lstStyle>
            <a:lvl1pPr algn="ctr">
              <a:defRPr sz="900">
                <a:solidFill>
                  <a:schemeClr val="bg2">
                    <a:lumMod val="50000"/>
                  </a:schemeClr>
                </a:solidFill>
              </a:defRPr>
            </a:lvl1pPr>
          </a:lstStyle>
          <a:p>
            <a:fld id="{AE086683-F536-42AB-ABBC-F4803DFE8DBC}" type="slidenum">
              <a:rPr lang="sv-SE" smtClean="0"/>
              <a:pPr/>
              <a:t>‹#›</a:t>
            </a:fld>
            <a:endParaRPr lang="sv-SE" dirty="0"/>
          </a:p>
        </p:txBody>
      </p:sp>
      <p:pic>
        <p:nvPicPr>
          <p:cNvPr id="23" name="Bild 22">
            <a:extLst>
              <a:ext uri="{FF2B5EF4-FFF2-40B4-BE49-F238E27FC236}">
                <a16:creationId xmlns:a16="http://schemas.microsoft.com/office/drawing/2014/main" id="{0EFDF4CD-902D-4EAE-8933-FDD17D47824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11256314" y="5683560"/>
            <a:ext cx="548991" cy="900112"/>
          </a:xfrm>
          <a:prstGeom prst="rect">
            <a:avLst/>
          </a:prstGeom>
        </p:spPr>
      </p:pic>
    </p:spTree>
    <p:extLst>
      <p:ext uri="{BB962C8B-B14F-4D97-AF65-F5344CB8AC3E}">
        <p14:creationId xmlns:p14="http://schemas.microsoft.com/office/powerpoint/2010/main" val="149138282"/>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9" r:id="rId4"/>
    <p:sldLayoutId id="2147483661" r:id="rId5"/>
    <p:sldLayoutId id="2147483660" r:id="rId6"/>
    <p:sldLayoutId id="2147483662" r:id="rId7"/>
    <p:sldLayoutId id="2147483674" r:id="rId8"/>
    <p:sldLayoutId id="2147483652" r:id="rId9"/>
    <p:sldLayoutId id="2147483667" r:id="rId10"/>
    <p:sldLayoutId id="2147483670" r:id="rId11"/>
    <p:sldLayoutId id="2147483668" r:id="rId12"/>
    <p:sldLayoutId id="2147483669" r:id="rId13"/>
    <p:sldLayoutId id="2147483673" r:id="rId14"/>
    <p:sldLayoutId id="2147483666" r:id="rId15"/>
    <p:sldLayoutId id="2147483651" r:id="rId16"/>
    <p:sldLayoutId id="2147483663" r:id="rId17"/>
    <p:sldLayoutId id="2147483664" r:id="rId18"/>
    <p:sldLayoutId id="2147483665" r:id="rId19"/>
    <p:sldLayoutId id="2147483654" r:id="rId20"/>
    <p:sldLayoutId id="2147483699" r:id="rId21"/>
    <p:sldLayoutId id="2147483655" r:id="rId22"/>
    <p:sldLayoutId id="2147483672" r:id="rId23"/>
    <p:sldLayoutId id="2147483700" r:id="rId24"/>
    <p:sldLayoutId id="2147483701" r:id="rId25"/>
    <p:sldLayoutId id="2147483702" r:id="rId26"/>
    <p:sldLayoutId id="2147483703" r:id="rId27"/>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600"/>
        </a:spcBef>
        <a:spcAft>
          <a:spcPts val="600"/>
        </a:spcAft>
        <a:buClr>
          <a:schemeClr val="accent1"/>
        </a:buClr>
        <a:buSzPct val="105000"/>
        <a:buFont typeface="HelveticaNeueLT Std" panose="020B0604020202020204" pitchFamily="34" charset="0"/>
        <a:buChar char="•"/>
        <a:defRPr sz="1600" kern="1200">
          <a:solidFill>
            <a:schemeClr val="tx1"/>
          </a:solidFill>
          <a:latin typeface="+mn-lt"/>
          <a:ea typeface="+mn-ea"/>
          <a:cs typeface="+mn-cs"/>
        </a:defRPr>
      </a:lvl1pPr>
      <a:lvl2pPr marL="538163"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400" kern="1200">
          <a:solidFill>
            <a:schemeClr val="tx1"/>
          </a:solidFill>
          <a:latin typeface="+mn-lt"/>
          <a:ea typeface="+mn-ea"/>
          <a:cs typeface="+mn-cs"/>
        </a:defRPr>
      </a:lvl2pPr>
      <a:lvl3pPr marL="715963"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200" kern="1200">
          <a:solidFill>
            <a:schemeClr val="tx1"/>
          </a:solidFill>
          <a:latin typeface="+mn-lt"/>
          <a:ea typeface="+mn-ea"/>
          <a:cs typeface="+mn-cs"/>
        </a:defRPr>
      </a:lvl3pPr>
      <a:lvl4pPr marL="898525" indent="-18256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4pPr>
      <a:lvl5pPr marL="107632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5pPr>
      <a:lvl6pPr marL="1254125"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6pPr>
      <a:lvl7pPr marL="14382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7pPr>
      <a:lvl8pPr marL="16160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8pPr>
      <a:lvl9pPr marL="1793875" indent="-180975"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6" userDrawn="1">
          <p15:clr>
            <a:srgbClr val="F26B43"/>
          </p15:clr>
        </p15:guide>
        <p15:guide id="2" pos="7174" userDrawn="1">
          <p15:clr>
            <a:srgbClr val="F26B43"/>
          </p15:clr>
        </p15:guide>
        <p15:guide id="3" orient="horz" pos="3997" userDrawn="1">
          <p15:clr>
            <a:srgbClr val="F26B43"/>
          </p15:clr>
        </p15:guide>
        <p15:guide id="4" orient="horz" pos="686" userDrawn="1">
          <p15:clr>
            <a:srgbClr val="F26B43"/>
          </p15:clr>
        </p15:guide>
        <p15:guide id="5" orient="horz" pos="890" userDrawn="1">
          <p15:clr>
            <a:srgbClr val="F26B43"/>
          </p15:clr>
        </p15:guide>
        <p15:guide id="7" orient="horz" pos="3884" userDrawn="1">
          <p15:clr>
            <a:srgbClr val="F26B43"/>
          </p15:clr>
        </p15:guide>
        <p15:guide id="8" orient="horz" pos="1253" userDrawn="1">
          <p15:clr>
            <a:srgbClr val="F26B43"/>
          </p15:clr>
        </p15:guide>
        <p15:guide id="9" pos="3840" userDrawn="1">
          <p15:clr>
            <a:srgbClr val="F26B43"/>
          </p15:clr>
        </p15:guide>
        <p15:guide id="10" pos="3205" userDrawn="1">
          <p15:clr>
            <a:srgbClr val="F26B43"/>
          </p15:clr>
        </p15:guide>
        <p15:guide id="11" pos="2570" userDrawn="1">
          <p15:clr>
            <a:srgbClr val="F26B43"/>
          </p15:clr>
        </p15:guide>
        <p15:guide id="12" pos="1935" userDrawn="1">
          <p15:clr>
            <a:srgbClr val="F26B43"/>
          </p15:clr>
        </p15:guide>
        <p15:guide id="13" pos="4475" userDrawn="1">
          <p15:clr>
            <a:srgbClr val="F26B43"/>
          </p15:clr>
        </p15:guide>
        <p15:guide id="14" pos="5110" userDrawn="1">
          <p15:clr>
            <a:srgbClr val="F26B43"/>
          </p15:clr>
        </p15:guide>
        <p15:guide id="15" pos="5745" userDrawn="1">
          <p15:clr>
            <a:srgbClr val="F26B43"/>
          </p15:clr>
        </p15:guide>
        <p15:guide id="16" pos="6380" userDrawn="1">
          <p15:clr>
            <a:srgbClr val="F26B43"/>
          </p15:clr>
        </p15:guide>
        <p15:guide id="17" pos="1300" userDrawn="1">
          <p15:clr>
            <a:srgbClr val="F26B43"/>
          </p15:clr>
        </p15:guide>
        <p15:guide id="18" orient="horz" pos="2251" userDrawn="1">
          <p15:clr>
            <a:srgbClr val="F26B43"/>
          </p15:clr>
        </p15:guide>
        <p15:guide id="19" orient="horz" pos="2364" userDrawn="1">
          <p15:clr>
            <a:srgbClr val="F26B43"/>
          </p15:clr>
        </p15:guide>
        <p15:guide id="20" orient="horz" pos="935" userDrawn="1">
          <p15:clr>
            <a:srgbClr val="F26B43"/>
          </p15:clr>
        </p15:guide>
        <p15:guide id="21" orient="horz" pos="1389" userDrawn="1">
          <p15:clr>
            <a:srgbClr val="F26B43"/>
          </p15:clr>
        </p15:guide>
        <p15:guide id="22" pos="665" userDrawn="1">
          <p15:clr>
            <a:srgbClr val="F26B43"/>
          </p15:clr>
        </p15:guide>
        <p15:guide id="23" pos="7015" userDrawn="1">
          <p15:clr>
            <a:srgbClr val="F26B43"/>
          </p15:clr>
        </p15:guide>
        <p15:guide id="24" orient="horz" pos="1661" userDrawn="1">
          <p15:clr>
            <a:srgbClr val="F26B43"/>
          </p15:clr>
        </p15:guide>
        <p15:guide id="25" orient="horz" pos="170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7.bin"/><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8.bin"/><Relationship Id="rId1" Type="http://schemas.openxmlformats.org/officeDocument/2006/relationships/slideLayout" Target="../slideLayouts/slideLayout25.xml"/><Relationship Id="rId5" Type="http://schemas.openxmlformats.org/officeDocument/2006/relationships/image" Target="../media/image18.sv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20.jpg"/><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22.jp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12.bin"/><Relationship Id="rId1" Type="http://schemas.openxmlformats.org/officeDocument/2006/relationships/slideLayout" Target="../slideLayouts/slideLayout25.xml"/><Relationship Id="rId5" Type="http://schemas.openxmlformats.org/officeDocument/2006/relationships/image" Target="../media/image23.png"/><Relationship Id="rId4" Type="http://schemas.openxmlformats.org/officeDocument/2006/relationships/hyperlink" Target="https://www.tre.se/treforetag/ramavtal/namnbyten"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13.bin"/><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14.bin"/><Relationship Id="rId1" Type="http://schemas.openxmlformats.org/officeDocument/2006/relationships/slideLayout" Target="../slideLayouts/slideLayout25.xml"/><Relationship Id="rId4" Type="http://schemas.openxmlformats.org/officeDocument/2006/relationships/hyperlink" Target="https://www.tre.se/support/kopinformation/prislistor"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15.bin"/><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24.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4.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4.emf"/><Relationship Id="rId4" Type="http://schemas.openxmlformats.org/officeDocument/2006/relationships/oleObject" Target="../embeddings/oleObject19.bin"/></Relationships>
</file>

<file path=ppt/slides/_rels/slide2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Layout" Target="../slideLayouts/slideLayout20.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4.emf"/><Relationship Id="rId11" Type="http://schemas.openxmlformats.org/officeDocument/2006/relationships/image" Target="../media/image30.png"/><Relationship Id="rId5" Type="http://schemas.openxmlformats.org/officeDocument/2006/relationships/oleObject" Target="../embeddings/oleObject20.bin"/><Relationship Id="rId10" Type="http://schemas.openxmlformats.org/officeDocument/2006/relationships/image" Target="../media/image29.png"/><Relationship Id="rId4" Type="http://schemas.openxmlformats.org/officeDocument/2006/relationships/notesSlide" Target="../notesSlides/notesSlide11.xml"/><Relationship Id="rId9" Type="http://schemas.openxmlformats.org/officeDocument/2006/relationships/image" Target="../media/image28.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2.bin"/><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7.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4.bin"/><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1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ergsklättrare klättrar upp för ett berg">
            <a:extLst>
              <a:ext uri="{FF2B5EF4-FFF2-40B4-BE49-F238E27FC236}">
                <a16:creationId xmlns:a16="http://schemas.microsoft.com/office/drawing/2014/main" id="{0C06DA63-DFF0-C32F-498C-7B58D73D59F4}"/>
              </a:ext>
            </a:extLst>
          </p:cNvPr>
          <p:cNvPicPr>
            <a:picLocks noChangeAspect="1"/>
          </p:cNvPicPr>
          <p:nvPr/>
        </p:nvPicPr>
        <p:blipFill>
          <a:blip r:embed="rId2">
            <a:extLst>
              <a:ext uri="{28A0092B-C50C-407E-A947-70E740481C1C}">
                <a14:useLocalDpi xmlns:a14="http://schemas.microsoft.com/office/drawing/2010/main" val="0"/>
              </a:ext>
            </a:extLst>
          </a:blip>
          <a:srcRect t="1747"/>
          <a:stretch/>
        </p:blipFill>
        <p:spPr>
          <a:xfrm>
            <a:off x="0" y="9"/>
            <a:ext cx="12192000" cy="6857991"/>
          </a:xfrm>
          <a:custGeom>
            <a:avLst/>
            <a:gdLst>
              <a:gd name="connsiteX0" fmla="*/ 11691026 w 12192000"/>
              <a:gd name="connsiteY0" fmla="*/ 6510557 h 6858001"/>
              <a:gd name="connsiteX1" fmla="*/ 11691006 w 12192000"/>
              <a:gd name="connsiteY1" fmla="*/ 6519248 h 6858001"/>
              <a:gd name="connsiteX2" fmla="*/ 11672131 w 12192000"/>
              <a:gd name="connsiteY2" fmla="*/ 6538802 h 6858001"/>
              <a:gd name="connsiteX3" fmla="*/ 11657834 w 12192000"/>
              <a:gd name="connsiteY3" fmla="*/ 6527958 h 6858001"/>
              <a:gd name="connsiteX4" fmla="*/ 11671627 w 12192000"/>
              <a:gd name="connsiteY4" fmla="*/ 6515485 h 6858001"/>
              <a:gd name="connsiteX5" fmla="*/ 11691026 w 12192000"/>
              <a:gd name="connsiteY5" fmla="*/ 6510557 h 6858001"/>
              <a:gd name="connsiteX6" fmla="*/ 11763345 w 12192000"/>
              <a:gd name="connsiteY6" fmla="*/ 6482487 h 6858001"/>
              <a:gd name="connsiteX7" fmla="*/ 11783209 w 12192000"/>
              <a:gd name="connsiteY7" fmla="*/ 6508579 h 6858001"/>
              <a:gd name="connsiteX8" fmla="*/ 11763345 w 12192000"/>
              <a:gd name="connsiteY8" fmla="*/ 6532071 h 6858001"/>
              <a:gd name="connsiteX9" fmla="*/ 11744469 w 12192000"/>
              <a:gd name="connsiteY9" fmla="*/ 6506620 h 6858001"/>
              <a:gd name="connsiteX10" fmla="*/ 11763345 w 12192000"/>
              <a:gd name="connsiteY10" fmla="*/ 6482487 h 6858001"/>
              <a:gd name="connsiteX11" fmla="*/ 11531973 w 12192000"/>
              <a:gd name="connsiteY11" fmla="*/ 6482487 h 6858001"/>
              <a:gd name="connsiteX12" fmla="*/ 11550537 w 12192000"/>
              <a:gd name="connsiteY12" fmla="*/ 6500548 h 6858001"/>
              <a:gd name="connsiteX13" fmla="*/ 11512574 w 12192000"/>
              <a:gd name="connsiteY13" fmla="*/ 6500548 h 6858001"/>
              <a:gd name="connsiteX14" fmla="*/ 11531973 w 12192000"/>
              <a:gd name="connsiteY14" fmla="*/ 6482487 h 6858001"/>
              <a:gd name="connsiteX15" fmla="*/ 11383473 w 12192000"/>
              <a:gd name="connsiteY15" fmla="*/ 6482410 h 6858001"/>
              <a:gd name="connsiteX16" fmla="*/ 11404153 w 12192000"/>
              <a:gd name="connsiteY16" fmla="*/ 6509665 h 6858001"/>
              <a:gd name="connsiteX17" fmla="*/ 11383473 w 12192000"/>
              <a:gd name="connsiteY17" fmla="*/ 6536824 h 6858001"/>
              <a:gd name="connsiteX18" fmla="*/ 11362949 w 12192000"/>
              <a:gd name="connsiteY18" fmla="*/ 6509665 h 6858001"/>
              <a:gd name="connsiteX19" fmla="*/ 11383473 w 12192000"/>
              <a:gd name="connsiteY19" fmla="*/ 6482410 h 6858001"/>
              <a:gd name="connsiteX20" fmla="*/ 11757661 w 12192000"/>
              <a:gd name="connsiteY20" fmla="*/ 6464970 h 6858001"/>
              <a:gd name="connsiteX21" fmla="*/ 11721210 w 12192000"/>
              <a:gd name="connsiteY21" fmla="*/ 6507008 h 6858001"/>
              <a:gd name="connsiteX22" fmla="*/ 11757486 w 12192000"/>
              <a:gd name="connsiteY22" fmla="*/ 6549685 h 6858001"/>
              <a:gd name="connsiteX23" fmla="*/ 11782938 w 12192000"/>
              <a:gd name="connsiteY23" fmla="*/ 6536552 h 6858001"/>
              <a:gd name="connsiteX24" fmla="*/ 11783267 w 12192000"/>
              <a:gd name="connsiteY24" fmla="*/ 6536552 h 6858001"/>
              <a:gd name="connsiteX25" fmla="*/ 11783267 w 12192000"/>
              <a:gd name="connsiteY25" fmla="*/ 6547707 h 6858001"/>
              <a:gd name="connsiteX26" fmla="*/ 11764547 w 12192000"/>
              <a:gd name="connsiteY26" fmla="*/ 6568716 h 6858001"/>
              <a:gd name="connsiteX27" fmla="*/ 11747088 w 12192000"/>
              <a:gd name="connsiteY27" fmla="*/ 6557076 h 6858001"/>
              <a:gd name="connsiteX28" fmla="*/ 11723945 w 12192000"/>
              <a:gd name="connsiteY28" fmla="*/ 6557076 h 6858001"/>
              <a:gd name="connsiteX29" fmla="*/ 11761366 w 12192000"/>
              <a:gd name="connsiteY29" fmla="*/ 6584332 h 6858001"/>
              <a:gd name="connsiteX30" fmla="*/ 11805363 w 12192000"/>
              <a:gd name="connsiteY30" fmla="*/ 6546737 h 6858001"/>
              <a:gd name="connsiteX31" fmla="*/ 11805363 w 12192000"/>
              <a:gd name="connsiteY31" fmla="*/ 6467278 h 6858001"/>
              <a:gd name="connsiteX32" fmla="*/ 11783209 w 12192000"/>
              <a:gd name="connsiteY32" fmla="*/ 6467278 h 6858001"/>
              <a:gd name="connsiteX33" fmla="*/ 11783209 w 12192000"/>
              <a:gd name="connsiteY33" fmla="*/ 6478549 h 6858001"/>
              <a:gd name="connsiteX34" fmla="*/ 11782879 w 12192000"/>
              <a:gd name="connsiteY34" fmla="*/ 6478549 h 6858001"/>
              <a:gd name="connsiteX35" fmla="*/ 11757661 w 12192000"/>
              <a:gd name="connsiteY35" fmla="*/ 6464970 h 6858001"/>
              <a:gd name="connsiteX36" fmla="*/ 11677020 w 12192000"/>
              <a:gd name="connsiteY36" fmla="*/ 6464931 h 6858001"/>
              <a:gd name="connsiteX37" fmla="*/ 11637116 w 12192000"/>
              <a:gd name="connsiteY37" fmla="*/ 6493331 h 6858001"/>
              <a:gd name="connsiteX38" fmla="*/ 11660395 w 12192000"/>
              <a:gd name="connsiteY38" fmla="*/ 6493331 h 6858001"/>
              <a:gd name="connsiteX39" fmla="*/ 11675914 w 12192000"/>
              <a:gd name="connsiteY39" fmla="*/ 6480528 h 6858001"/>
              <a:gd name="connsiteX40" fmla="*/ 11691026 w 12192000"/>
              <a:gd name="connsiteY40" fmla="*/ 6492012 h 6858001"/>
              <a:gd name="connsiteX41" fmla="*/ 11663440 w 12192000"/>
              <a:gd name="connsiteY41" fmla="*/ 6503166 h 6858001"/>
              <a:gd name="connsiteX42" fmla="*/ 11634594 w 12192000"/>
              <a:gd name="connsiteY42" fmla="*/ 6528948 h 6858001"/>
              <a:gd name="connsiteX43" fmla="*/ 11663479 w 12192000"/>
              <a:gd name="connsiteY43" fmla="*/ 6554399 h 6858001"/>
              <a:gd name="connsiteX44" fmla="*/ 11692054 w 12192000"/>
              <a:gd name="connsiteY44" fmla="*/ 6543885 h 6858001"/>
              <a:gd name="connsiteX45" fmla="*/ 11693683 w 12192000"/>
              <a:gd name="connsiteY45" fmla="*/ 6552091 h 6858001"/>
              <a:gd name="connsiteX46" fmla="*/ 11717234 w 12192000"/>
              <a:gd name="connsiteY46" fmla="*/ 6552091 h 6858001"/>
              <a:gd name="connsiteX47" fmla="*/ 11714285 w 12192000"/>
              <a:gd name="connsiteY47" fmla="*/ 6533215 h 6858001"/>
              <a:gd name="connsiteX48" fmla="*/ 11714285 w 12192000"/>
              <a:gd name="connsiteY48" fmla="*/ 6489063 h 6858001"/>
              <a:gd name="connsiteX49" fmla="*/ 11677020 w 12192000"/>
              <a:gd name="connsiteY49" fmla="*/ 6464931 h 6858001"/>
              <a:gd name="connsiteX50" fmla="*/ 11532593 w 12192000"/>
              <a:gd name="connsiteY50" fmla="*/ 6464912 h 6858001"/>
              <a:gd name="connsiteX51" fmla="*/ 11489256 w 12192000"/>
              <a:gd name="connsiteY51" fmla="*/ 6509724 h 6858001"/>
              <a:gd name="connsiteX52" fmla="*/ 11532593 w 12192000"/>
              <a:gd name="connsiteY52" fmla="*/ 6554341 h 6858001"/>
              <a:gd name="connsiteX53" fmla="*/ 11572322 w 12192000"/>
              <a:gd name="connsiteY53" fmla="*/ 6525786 h 6858001"/>
              <a:gd name="connsiteX54" fmla="*/ 11551798 w 12192000"/>
              <a:gd name="connsiteY54" fmla="*/ 6525786 h 6858001"/>
              <a:gd name="connsiteX55" fmla="*/ 11533427 w 12192000"/>
              <a:gd name="connsiteY55" fmla="*/ 6536785 h 6858001"/>
              <a:gd name="connsiteX56" fmla="*/ 11512574 w 12192000"/>
              <a:gd name="connsiteY56" fmla="*/ 6515272 h 6858001"/>
              <a:gd name="connsiteX57" fmla="*/ 11573797 w 12192000"/>
              <a:gd name="connsiteY57" fmla="*/ 6515272 h 6858001"/>
              <a:gd name="connsiteX58" fmla="*/ 11532593 w 12192000"/>
              <a:gd name="connsiteY58" fmla="*/ 6464912 h 6858001"/>
              <a:gd name="connsiteX59" fmla="*/ 11484290 w 12192000"/>
              <a:gd name="connsiteY59" fmla="*/ 6464912 h 6858001"/>
              <a:gd name="connsiteX60" fmla="*/ 11457132 w 12192000"/>
              <a:gd name="connsiteY60" fmla="*/ 6482972 h 6858001"/>
              <a:gd name="connsiteX61" fmla="*/ 11456802 w 12192000"/>
              <a:gd name="connsiteY61" fmla="*/ 6482972 h 6858001"/>
              <a:gd name="connsiteX62" fmla="*/ 11456802 w 12192000"/>
              <a:gd name="connsiteY62" fmla="*/ 6467279 h 6858001"/>
              <a:gd name="connsiteX63" fmla="*/ 11434784 w 12192000"/>
              <a:gd name="connsiteY63" fmla="*/ 6467279 h 6858001"/>
              <a:gd name="connsiteX64" fmla="*/ 11434784 w 12192000"/>
              <a:gd name="connsiteY64" fmla="*/ 6552149 h 6858001"/>
              <a:gd name="connsiteX65" fmla="*/ 11458063 w 12192000"/>
              <a:gd name="connsiteY65" fmla="*/ 6552149 h 6858001"/>
              <a:gd name="connsiteX66" fmla="*/ 11458063 w 12192000"/>
              <a:gd name="connsiteY66" fmla="*/ 6513836 h 6858001"/>
              <a:gd name="connsiteX67" fmla="*/ 11481051 w 12192000"/>
              <a:gd name="connsiteY67" fmla="*/ 6486678 h 6858001"/>
              <a:gd name="connsiteX68" fmla="*/ 11489431 w 12192000"/>
              <a:gd name="connsiteY68" fmla="*/ 6487492 h 6858001"/>
              <a:gd name="connsiteX69" fmla="*/ 11489392 w 12192000"/>
              <a:gd name="connsiteY69" fmla="*/ 6465746 h 6858001"/>
              <a:gd name="connsiteX70" fmla="*/ 11484290 w 12192000"/>
              <a:gd name="connsiteY70" fmla="*/ 6464912 h 6858001"/>
              <a:gd name="connsiteX71" fmla="*/ 11383473 w 12192000"/>
              <a:gd name="connsiteY71" fmla="*/ 6464912 h 6858001"/>
              <a:gd name="connsiteX72" fmla="*/ 11339651 w 12192000"/>
              <a:gd name="connsiteY72" fmla="*/ 6509724 h 6858001"/>
              <a:gd name="connsiteX73" fmla="*/ 11383473 w 12192000"/>
              <a:gd name="connsiteY73" fmla="*/ 6554341 h 6858001"/>
              <a:gd name="connsiteX74" fmla="*/ 11427470 w 12192000"/>
              <a:gd name="connsiteY74" fmla="*/ 6509724 h 6858001"/>
              <a:gd name="connsiteX75" fmla="*/ 11383473 w 12192000"/>
              <a:gd name="connsiteY75" fmla="*/ 6464912 h 6858001"/>
              <a:gd name="connsiteX76" fmla="*/ 11589044 w 12192000"/>
              <a:gd name="connsiteY76" fmla="*/ 6441769 h 6858001"/>
              <a:gd name="connsiteX77" fmla="*/ 11589044 w 12192000"/>
              <a:gd name="connsiteY77" fmla="*/ 6467279 h 6858001"/>
              <a:gd name="connsiteX78" fmla="*/ 11574922 w 12192000"/>
              <a:gd name="connsiteY78" fmla="*/ 6467279 h 6858001"/>
              <a:gd name="connsiteX79" fmla="*/ 11574922 w 12192000"/>
              <a:gd name="connsiteY79" fmla="*/ 6482798 h 6858001"/>
              <a:gd name="connsiteX80" fmla="*/ 11589044 w 12192000"/>
              <a:gd name="connsiteY80" fmla="*/ 6482798 h 6858001"/>
              <a:gd name="connsiteX81" fmla="*/ 11589044 w 12192000"/>
              <a:gd name="connsiteY81" fmla="*/ 6532867 h 6858001"/>
              <a:gd name="connsiteX82" fmla="*/ 11615796 w 12192000"/>
              <a:gd name="connsiteY82" fmla="*/ 6553061 h 6858001"/>
              <a:gd name="connsiteX83" fmla="*/ 11629375 w 12192000"/>
              <a:gd name="connsiteY83" fmla="*/ 6552246 h 6858001"/>
              <a:gd name="connsiteX84" fmla="*/ 11629375 w 12192000"/>
              <a:gd name="connsiteY84" fmla="*/ 6534011 h 6858001"/>
              <a:gd name="connsiteX85" fmla="*/ 11622158 w 12192000"/>
              <a:gd name="connsiteY85" fmla="*/ 6534671 h 6858001"/>
              <a:gd name="connsiteX86" fmla="*/ 11612304 w 12192000"/>
              <a:gd name="connsiteY86" fmla="*/ 6524816 h 6858001"/>
              <a:gd name="connsiteX87" fmla="*/ 11612304 w 12192000"/>
              <a:gd name="connsiteY87" fmla="*/ 6482798 h 6858001"/>
              <a:gd name="connsiteX88" fmla="*/ 11629375 w 12192000"/>
              <a:gd name="connsiteY88" fmla="*/ 6482798 h 6858001"/>
              <a:gd name="connsiteX89" fmla="*/ 11629375 w 12192000"/>
              <a:gd name="connsiteY89" fmla="*/ 6467279 h 6858001"/>
              <a:gd name="connsiteX90" fmla="*/ 11612304 w 12192000"/>
              <a:gd name="connsiteY90" fmla="*/ 6467279 h 6858001"/>
              <a:gd name="connsiteX91" fmla="*/ 11612323 w 12192000"/>
              <a:gd name="connsiteY91" fmla="*/ 6441769 h 6858001"/>
              <a:gd name="connsiteX92" fmla="*/ 11389390 w 12192000"/>
              <a:gd name="connsiteY92" fmla="*/ 6434882 h 6858001"/>
              <a:gd name="connsiteX93" fmla="*/ 11389390 w 12192000"/>
              <a:gd name="connsiteY93" fmla="*/ 6454087 h 6858001"/>
              <a:gd name="connsiteX94" fmla="*/ 11411544 w 12192000"/>
              <a:gd name="connsiteY94" fmla="*/ 6454087 h 6858001"/>
              <a:gd name="connsiteX95" fmla="*/ 11411544 w 12192000"/>
              <a:gd name="connsiteY95" fmla="*/ 6434882 h 6858001"/>
              <a:gd name="connsiteX96" fmla="*/ 11355578 w 12192000"/>
              <a:gd name="connsiteY96" fmla="*/ 6434882 h 6858001"/>
              <a:gd name="connsiteX97" fmla="*/ 11355578 w 12192000"/>
              <a:gd name="connsiteY97" fmla="*/ 6454087 h 6858001"/>
              <a:gd name="connsiteX98" fmla="*/ 11377732 w 12192000"/>
              <a:gd name="connsiteY98" fmla="*/ 6454087 h 6858001"/>
              <a:gd name="connsiteX99" fmla="*/ 11377732 w 12192000"/>
              <a:gd name="connsiteY99" fmla="*/ 6434882 h 6858001"/>
              <a:gd name="connsiteX100" fmla="*/ 11257148 w 12192000"/>
              <a:gd name="connsiteY100" fmla="*/ 6434882 h 6858001"/>
              <a:gd name="connsiteX101" fmla="*/ 11257148 w 12192000"/>
              <a:gd name="connsiteY101" fmla="*/ 6552091 h 6858001"/>
              <a:gd name="connsiteX102" fmla="*/ 11282929 w 12192000"/>
              <a:gd name="connsiteY102" fmla="*/ 6552091 h 6858001"/>
              <a:gd name="connsiteX103" fmla="*/ 11282929 w 12192000"/>
              <a:gd name="connsiteY103" fmla="*/ 6503671 h 6858001"/>
              <a:gd name="connsiteX104" fmla="*/ 11332009 w 12192000"/>
              <a:gd name="connsiteY104" fmla="*/ 6503671 h 6858001"/>
              <a:gd name="connsiteX105" fmla="*/ 11332009 w 12192000"/>
              <a:gd name="connsiteY105" fmla="*/ 6483651 h 6858001"/>
              <a:gd name="connsiteX106" fmla="*/ 11282929 w 12192000"/>
              <a:gd name="connsiteY106" fmla="*/ 6483651 h 6858001"/>
              <a:gd name="connsiteX107" fmla="*/ 11282929 w 12192000"/>
              <a:gd name="connsiteY107" fmla="*/ 6456551 h 6858001"/>
              <a:gd name="connsiteX108" fmla="*/ 11339574 w 12192000"/>
              <a:gd name="connsiteY108" fmla="*/ 6456551 h 6858001"/>
              <a:gd name="connsiteX109" fmla="*/ 11339574 w 12192000"/>
              <a:gd name="connsiteY109" fmla="*/ 6434882 h 6858001"/>
              <a:gd name="connsiteX110" fmla="*/ 11587492 w 12192000"/>
              <a:gd name="connsiteY110" fmla="*/ 6050764 h 6858001"/>
              <a:gd name="connsiteX111" fmla="*/ 11707165 w 12192000"/>
              <a:gd name="connsiteY111" fmla="*/ 6120600 h 6858001"/>
              <a:gd name="connsiteX112" fmla="*/ 11678609 w 12192000"/>
              <a:gd name="connsiteY112" fmla="*/ 6115712 h 6858001"/>
              <a:gd name="connsiteX113" fmla="*/ 11663265 w 12192000"/>
              <a:gd name="connsiteY113" fmla="*/ 6134897 h 6858001"/>
              <a:gd name="connsiteX114" fmla="*/ 11667707 w 12192000"/>
              <a:gd name="connsiteY114" fmla="*/ 6153831 h 6858001"/>
              <a:gd name="connsiteX115" fmla="*/ 11676437 w 12192000"/>
              <a:gd name="connsiteY115" fmla="*/ 6198759 h 6858001"/>
              <a:gd name="connsiteX116" fmla="*/ 11659172 w 12192000"/>
              <a:gd name="connsiteY116" fmla="*/ 6255947 h 6858001"/>
              <a:gd name="connsiteX117" fmla="*/ 11648153 w 12192000"/>
              <a:gd name="connsiteY117" fmla="*/ 6217537 h 6858001"/>
              <a:gd name="connsiteX118" fmla="*/ 11635078 w 12192000"/>
              <a:gd name="connsiteY118" fmla="*/ 6210398 h 6858001"/>
              <a:gd name="connsiteX119" fmla="*/ 11621829 w 12192000"/>
              <a:gd name="connsiteY119" fmla="*/ 6217246 h 6858001"/>
              <a:gd name="connsiteX120" fmla="*/ 11611722 w 12192000"/>
              <a:gd name="connsiteY120" fmla="*/ 6233328 h 6858001"/>
              <a:gd name="connsiteX121" fmla="*/ 11517326 w 12192000"/>
              <a:gd name="connsiteY121" fmla="*/ 6310555 h 6858001"/>
              <a:gd name="connsiteX122" fmla="*/ 11525862 w 12192000"/>
              <a:gd name="connsiteY122" fmla="*/ 6283047 h 6858001"/>
              <a:gd name="connsiteX123" fmla="*/ 11524387 w 12192000"/>
              <a:gd name="connsiteY123" fmla="*/ 6274648 h 6858001"/>
              <a:gd name="connsiteX124" fmla="*/ 11513679 w 12192000"/>
              <a:gd name="connsiteY124" fmla="*/ 6267082 h 6858001"/>
              <a:gd name="connsiteX125" fmla="*/ 11513524 w 12192000"/>
              <a:gd name="connsiteY125" fmla="*/ 6267082 h 6858001"/>
              <a:gd name="connsiteX126" fmla="*/ 11489721 w 12192000"/>
              <a:gd name="connsiteY126" fmla="*/ 6272106 h 6858001"/>
              <a:gd name="connsiteX127" fmla="*/ 11439090 w 12192000"/>
              <a:gd name="connsiteY127" fmla="*/ 6281049 h 6858001"/>
              <a:gd name="connsiteX128" fmla="*/ 11375714 w 12192000"/>
              <a:gd name="connsiteY128" fmla="*/ 6259128 h 6858001"/>
              <a:gd name="connsiteX129" fmla="*/ 11395113 w 12192000"/>
              <a:gd name="connsiteY129" fmla="*/ 6251039 h 6858001"/>
              <a:gd name="connsiteX130" fmla="*/ 11401747 w 12192000"/>
              <a:gd name="connsiteY130" fmla="*/ 6238236 h 6858001"/>
              <a:gd name="connsiteX131" fmla="*/ 11389448 w 12192000"/>
              <a:gd name="connsiteY131" fmla="*/ 6220039 h 6858001"/>
              <a:gd name="connsiteX132" fmla="*/ 11368672 w 12192000"/>
              <a:gd name="connsiteY132" fmla="*/ 6182890 h 6858001"/>
              <a:gd name="connsiteX133" fmla="*/ 11371873 w 12192000"/>
              <a:gd name="connsiteY133" fmla="*/ 6165431 h 6858001"/>
              <a:gd name="connsiteX134" fmla="*/ 11380602 w 12192000"/>
              <a:gd name="connsiteY134" fmla="*/ 6180407 h 6858001"/>
              <a:gd name="connsiteX135" fmla="*/ 11400001 w 12192000"/>
              <a:gd name="connsiteY135" fmla="*/ 6190495 h 6858001"/>
              <a:gd name="connsiteX136" fmla="*/ 11413134 w 12192000"/>
              <a:gd name="connsiteY136" fmla="*/ 6182871 h 6858001"/>
              <a:gd name="connsiteX137" fmla="*/ 11414919 w 12192000"/>
              <a:gd name="connsiteY137" fmla="*/ 6169854 h 6858001"/>
              <a:gd name="connsiteX138" fmla="*/ 11420196 w 12192000"/>
              <a:gd name="connsiteY138" fmla="*/ 6158215 h 6858001"/>
              <a:gd name="connsiteX139" fmla="*/ 11432592 w 12192000"/>
              <a:gd name="connsiteY139" fmla="*/ 6153016 h 6858001"/>
              <a:gd name="connsiteX140" fmla="*/ 11456433 w 12192000"/>
              <a:gd name="connsiteY140" fmla="*/ 6167488 h 6858001"/>
              <a:gd name="connsiteX141" fmla="*/ 11464774 w 12192000"/>
              <a:gd name="connsiteY141" fmla="*/ 6198526 h 6858001"/>
              <a:gd name="connsiteX142" fmla="*/ 11461477 w 12192000"/>
              <a:gd name="connsiteY142" fmla="*/ 6216955 h 6858001"/>
              <a:gd name="connsiteX143" fmla="*/ 11459090 w 12192000"/>
              <a:gd name="connsiteY143" fmla="*/ 6222775 h 6858001"/>
              <a:gd name="connsiteX144" fmla="*/ 11463998 w 12192000"/>
              <a:gd name="connsiteY144" fmla="*/ 6218895 h 6858001"/>
              <a:gd name="connsiteX145" fmla="*/ 11483979 w 12192000"/>
              <a:gd name="connsiteY145" fmla="*/ 6193890 h 6858001"/>
              <a:gd name="connsiteX146" fmla="*/ 11491390 w 12192000"/>
              <a:gd name="connsiteY146" fmla="*/ 6194064 h 6858001"/>
              <a:gd name="connsiteX147" fmla="*/ 11491390 w 12192000"/>
              <a:gd name="connsiteY147" fmla="*/ 6193987 h 6858001"/>
              <a:gd name="connsiteX148" fmla="*/ 11567473 w 12192000"/>
              <a:gd name="connsiteY148" fmla="*/ 6166479 h 6858001"/>
              <a:gd name="connsiteX149" fmla="*/ 11600645 w 12192000"/>
              <a:gd name="connsiteY149" fmla="*/ 6087447 h 6858001"/>
              <a:gd name="connsiteX150" fmla="*/ 11587492 w 12192000"/>
              <a:gd name="connsiteY150" fmla="*/ 6050764 h 6858001"/>
              <a:gd name="connsiteX151" fmla="*/ 11538859 w 12192000"/>
              <a:gd name="connsiteY151" fmla="*/ 5766142 h 6858001"/>
              <a:gd name="connsiteX152" fmla="*/ 11522370 w 12192000"/>
              <a:gd name="connsiteY152" fmla="*/ 5801410 h 6858001"/>
              <a:gd name="connsiteX153" fmla="*/ 11525299 w 12192000"/>
              <a:gd name="connsiteY153" fmla="*/ 5809305 h 6858001"/>
              <a:gd name="connsiteX154" fmla="*/ 11535193 w 12192000"/>
              <a:gd name="connsiteY154" fmla="*/ 5813049 h 6858001"/>
              <a:gd name="connsiteX155" fmla="*/ 11561478 w 12192000"/>
              <a:gd name="connsiteY155" fmla="*/ 5806900 h 6858001"/>
              <a:gd name="connsiteX156" fmla="*/ 11607784 w 12192000"/>
              <a:gd name="connsiteY156" fmla="*/ 5797375 h 6858001"/>
              <a:gd name="connsiteX157" fmla="*/ 11656184 w 12192000"/>
              <a:gd name="connsiteY157" fmla="*/ 5812758 h 6858001"/>
              <a:gd name="connsiteX158" fmla="*/ 11629472 w 12192000"/>
              <a:gd name="connsiteY158" fmla="*/ 5821488 h 6858001"/>
              <a:gd name="connsiteX159" fmla="*/ 11621576 w 12192000"/>
              <a:gd name="connsiteY159" fmla="*/ 5835843 h 6858001"/>
              <a:gd name="connsiteX160" fmla="*/ 11631606 w 12192000"/>
              <a:gd name="connsiteY160" fmla="*/ 5853302 h 6858001"/>
              <a:gd name="connsiteX161" fmla="*/ 11652149 w 12192000"/>
              <a:gd name="connsiteY161" fmla="*/ 5897609 h 6858001"/>
              <a:gd name="connsiteX162" fmla="*/ 11637445 w 12192000"/>
              <a:gd name="connsiteY162" fmla="*/ 5941936 h 6858001"/>
              <a:gd name="connsiteX163" fmla="*/ 11637445 w 12192000"/>
              <a:gd name="connsiteY163" fmla="*/ 5939201 h 6858001"/>
              <a:gd name="connsiteX164" fmla="*/ 11629181 w 12192000"/>
              <a:gd name="connsiteY164" fmla="*/ 5909481 h 6858001"/>
              <a:gd name="connsiteX165" fmla="*/ 11615601 w 12192000"/>
              <a:gd name="connsiteY165" fmla="*/ 5903196 h 6858001"/>
              <a:gd name="connsiteX166" fmla="*/ 11587085 w 12192000"/>
              <a:gd name="connsiteY166" fmla="*/ 5919763 h 6858001"/>
              <a:gd name="connsiteX167" fmla="*/ 11555639 w 12192000"/>
              <a:gd name="connsiteY167" fmla="*/ 5943391 h 6858001"/>
              <a:gd name="connsiteX168" fmla="*/ 11451176 w 12192000"/>
              <a:gd name="connsiteY168" fmla="*/ 5992742 h 6858001"/>
              <a:gd name="connsiteX169" fmla="*/ 11441437 w 12192000"/>
              <a:gd name="connsiteY169" fmla="*/ 5983857 h 6858001"/>
              <a:gd name="connsiteX170" fmla="*/ 11485609 w 12192000"/>
              <a:gd name="connsiteY170" fmla="*/ 5951344 h 6858001"/>
              <a:gd name="connsiteX171" fmla="*/ 11522642 w 12192000"/>
              <a:gd name="connsiteY171" fmla="*/ 5925389 h 6858001"/>
              <a:gd name="connsiteX172" fmla="*/ 11538374 w 12192000"/>
              <a:gd name="connsiteY172" fmla="*/ 5898754 h 6858001"/>
              <a:gd name="connsiteX173" fmla="*/ 11529839 w 12192000"/>
              <a:gd name="connsiteY173" fmla="*/ 5878346 h 6858001"/>
              <a:gd name="connsiteX174" fmla="*/ 11479537 w 12192000"/>
              <a:gd name="connsiteY174" fmla="*/ 5861275 h 6858001"/>
              <a:gd name="connsiteX175" fmla="*/ 11402562 w 12192000"/>
              <a:gd name="connsiteY175" fmla="*/ 5858734 h 6858001"/>
              <a:gd name="connsiteX176" fmla="*/ 11394938 w 12192000"/>
              <a:gd name="connsiteY176" fmla="*/ 5858734 h 6858001"/>
              <a:gd name="connsiteX177" fmla="*/ 11339185 w 12192000"/>
              <a:gd name="connsiteY177" fmla="*/ 5857822 h 6858001"/>
              <a:gd name="connsiteX178" fmla="*/ 11408382 w 12192000"/>
              <a:gd name="connsiteY178" fmla="*/ 5823816 h 6858001"/>
              <a:gd name="connsiteX179" fmla="*/ 11538859 w 12192000"/>
              <a:gd name="connsiteY179" fmla="*/ 5766142 h 6858001"/>
              <a:gd name="connsiteX180" fmla="*/ 11560082 w 12192000"/>
              <a:gd name="connsiteY180" fmla="*/ 5707189 h 6858001"/>
              <a:gd name="connsiteX181" fmla="*/ 11686931 w 12192000"/>
              <a:gd name="connsiteY181" fmla="*/ 5745386 h 6858001"/>
              <a:gd name="connsiteX182" fmla="*/ 11726059 w 12192000"/>
              <a:gd name="connsiteY182" fmla="*/ 5831342 h 6858001"/>
              <a:gd name="connsiteX183" fmla="*/ 11686582 w 12192000"/>
              <a:gd name="connsiteY183" fmla="*/ 5941102 h 6858001"/>
              <a:gd name="connsiteX184" fmla="*/ 11674342 w 12192000"/>
              <a:gd name="connsiteY184" fmla="*/ 5965913 h 6858001"/>
              <a:gd name="connsiteX185" fmla="*/ 11681655 w 12192000"/>
              <a:gd name="connsiteY185" fmla="*/ 5981277 h 6858001"/>
              <a:gd name="connsiteX186" fmla="*/ 11700453 w 12192000"/>
              <a:gd name="connsiteY186" fmla="*/ 5996486 h 6858001"/>
              <a:gd name="connsiteX187" fmla="*/ 11782491 w 12192000"/>
              <a:gd name="connsiteY187" fmla="*/ 6134432 h 6858001"/>
              <a:gd name="connsiteX188" fmla="*/ 11696825 w 12192000"/>
              <a:gd name="connsiteY188" fmla="*/ 6305472 h 6858001"/>
              <a:gd name="connsiteX189" fmla="*/ 11520760 w 12192000"/>
              <a:gd name="connsiteY189" fmla="*/ 6362758 h 6858001"/>
              <a:gd name="connsiteX190" fmla="*/ 11279960 w 12192000"/>
              <a:gd name="connsiteY190" fmla="*/ 6187934 h 6858001"/>
              <a:gd name="connsiteX191" fmla="*/ 11307119 w 12192000"/>
              <a:gd name="connsiteY191" fmla="*/ 6116333 h 6858001"/>
              <a:gd name="connsiteX192" fmla="*/ 11381902 w 12192000"/>
              <a:gd name="connsiteY192" fmla="*/ 6083354 h 6858001"/>
              <a:gd name="connsiteX193" fmla="*/ 11440099 w 12192000"/>
              <a:gd name="connsiteY193" fmla="*/ 6099455 h 6858001"/>
              <a:gd name="connsiteX194" fmla="*/ 11471351 w 12192000"/>
              <a:gd name="connsiteY194" fmla="*/ 6162560 h 6858001"/>
              <a:gd name="connsiteX195" fmla="*/ 11471351 w 12192000"/>
              <a:gd name="connsiteY195" fmla="*/ 6165315 h 6858001"/>
              <a:gd name="connsiteX196" fmla="*/ 11464445 w 12192000"/>
              <a:gd name="connsiteY196" fmla="*/ 6154064 h 6858001"/>
              <a:gd name="connsiteX197" fmla="*/ 11432669 w 12192000"/>
              <a:gd name="connsiteY197" fmla="*/ 6139185 h 6858001"/>
              <a:gd name="connsiteX198" fmla="*/ 11401088 w 12192000"/>
              <a:gd name="connsiteY198" fmla="*/ 6169893 h 6858001"/>
              <a:gd name="connsiteX199" fmla="*/ 11400312 w 12192000"/>
              <a:gd name="connsiteY199" fmla="*/ 6175907 h 6858001"/>
              <a:gd name="connsiteX200" fmla="*/ 11399943 w 12192000"/>
              <a:gd name="connsiteY200" fmla="*/ 6176566 h 6858001"/>
              <a:gd name="connsiteX201" fmla="*/ 11386907 w 12192000"/>
              <a:gd name="connsiteY201" fmla="*/ 6167934 h 6858001"/>
              <a:gd name="connsiteX202" fmla="*/ 11380001 w 12192000"/>
              <a:gd name="connsiteY202" fmla="*/ 6142812 h 6858001"/>
              <a:gd name="connsiteX203" fmla="*/ 11380369 w 12192000"/>
              <a:gd name="connsiteY203" fmla="*/ 6136042 h 6858001"/>
              <a:gd name="connsiteX204" fmla="*/ 11380893 w 12192000"/>
              <a:gd name="connsiteY204" fmla="*/ 6130979 h 6858001"/>
              <a:gd name="connsiteX205" fmla="*/ 11377479 w 12192000"/>
              <a:gd name="connsiteY205" fmla="*/ 6134859 h 6858001"/>
              <a:gd name="connsiteX206" fmla="*/ 11355636 w 12192000"/>
              <a:gd name="connsiteY206" fmla="*/ 6182774 h 6858001"/>
              <a:gd name="connsiteX207" fmla="*/ 11380059 w 12192000"/>
              <a:gd name="connsiteY207" fmla="*/ 6230263 h 6858001"/>
              <a:gd name="connsiteX208" fmla="*/ 11385374 w 12192000"/>
              <a:gd name="connsiteY208" fmla="*/ 6235365 h 6858001"/>
              <a:gd name="connsiteX209" fmla="*/ 11387314 w 12192000"/>
              <a:gd name="connsiteY209" fmla="*/ 6237576 h 6858001"/>
              <a:gd name="connsiteX210" fmla="*/ 11387838 w 12192000"/>
              <a:gd name="connsiteY210" fmla="*/ 6238352 h 6858001"/>
              <a:gd name="connsiteX211" fmla="*/ 11387838 w 12192000"/>
              <a:gd name="connsiteY211" fmla="*/ 6238507 h 6858001"/>
              <a:gd name="connsiteX212" fmla="*/ 11381786 w 12192000"/>
              <a:gd name="connsiteY212" fmla="*/ 6243202 h 6858001"/>
              <a:gd name="connsiteX213" fmla="*/ 11359516 w 12192000"/>
              <a:gd name="connsiteY213" fmla="*/ 6246616 h 6858001"/>
              <a:gd name="connsiteX214" fmla="*/ 11347488 w 12192000"/>
              <a:gd name="connsiteY214" fmla="*/ 6246034 h 6858001"/>
              <a:gd name="connsiteX215" fmla="*/ 11343608 w 12192000"/>
              <a:gd name="connsiteY215" fmla="*/ 6245665 h 6858001"/>
              <a:gd name="connsiteX216" fmla="*/ 11346169 w 12192000"/>
              <a:gd name="connsiteY216" fmla="*/ 6248750 h 6858001"/>
              <a:gd name="connsiteX217" fmla="*/ 11439284 w 12192000"/>
              <a:gd name="connsiteY217" fmla="*/ 6294881 h 6858001"/>
              <a:gd name="connsiteX218" fmla="*/ 11493601 w 12192000"/>
              <a:gd name="connsiteY218" fmla="*/ 6285686 h 6858001"/>
              <a:gd name="connsiteX219" fmla="*/ 11509567 w 12192000"/>
              <a:gd name="connsiteY219" fmla="*/ 6281631 h 6858001"/>
              <a:gd name="connsiteX220" fmla="*/ 11511972 w 12192000"/>
              <a:gd name="connsiteY220" fmla="*/ 6282407 h 6858001"/>
              <a:gd name="connsiteX221" fmla="*/ 11512612 w 12192000"/>
              <a:gd name="connsiteY221" fmla="*/ 6285162 h 6858001"/>
              <a:gd name="connsiteX222" fmla="*/ 11505978 w 12192000"/>
              <a:gd name="connsiteY222" fmla="*/ 6304871 h 6858001"/>
              <a:gd name="connsiteX223" fmla="*/ 11489605 w 12192000"/>
              <a:gd name="connsiteY223" fmla="*/ 6326811 h 6858001"/>
              <a:gd name="connsiteX224" fmla="*/ 11485725 w 12192000"/>
              <a:gd name="connsiteY224" fmla="*/ 6330342 h 6858001"/>
              <a:gd name="connsiteX225" fmla="*/ 11490924 w 12192000"/>
              <a:gd name="connsiteY225" fmla="*/ 6329663 h 6858001"/>
              <a:gd name="connsiteX226" fmla="*/ 11623982 w 12192000"/>
              <a:gd name="connsiteY226" fmla="*/ 6240234 h 6858001"/>
              <a:gd name="connsiteX227" fmla="*/ 11630713 w 12192000"/>
              <a:gd name="connsiteY227" fmla="*/ 6228672 h 6858001"/>
              <a:gd name="connsiteX228" fmla="*/ 11635175 w 12192000"/>
              <a:gd name="connsiteY228" fmla="*/ 6224424 h 6858001"/>
              <a:gd name="connsiteX229" fmla="*/ 11638803 w 12192000"/>
              <a:gd name="connsiteY229" fmla="*/ 6227372 h 6858001"/>
              <a:gd name="connsiteX230" fmla="*/ 11646814 w 12192000"/>
              <a:gd name="connsiteY230" fmla="*/ 6266927 h 6858001"/>
              <a:gd name="connsiteX231" fmla="*/ 11644622 w 12192000"/>
              <a:gd name="connsiteY231" fmla="*/ 6288692 h 6858001"/>
              <a:gd name="connsiteX232" fmla="*/ 11643517 w 12192000"/>
              <a:gd name="connsiteY232" fmla="*/ 6293833 h 6858001"/>
              <a:gd name="connsiteX233" fmla="*/ 11647396 w 12192000"/>
              <a:gd name="connsiteY233" fmla="*/ 6290244 h 6858001"/>
              <a:gd name="connsiteX234" fmla="*/ 11690074 w 12192000"/>
              <a:gd name="connsiteY234" fmla="*/ 6199418 h 6858001"/>
              <a:gd name="connsiteX235" fmla="*/ 11680995 w 12192000"/>
              <a:gd name="connsiteY235" fmla="*/ 6149563 h 6858001"/>
              <a:gd name="connsiteX236" fmla="*/ 11677251 w 12192000"/>
              <a:gd name="connsiteY236" fmla="*/ 6134956 h 6858001"/>
              <a:gd name="connsiteX237" fmla="*/ 11678105 w 12192000"/>
              <a:gd name="connsiteY237" fmla="*/ 6130940 h 6858001"/>
              <a:gd name="connsiteX238" fmla="*/ 11680685 w 12192000"/>
              <a:gd name="connsiteY238" fmla="*/ 6129582 h 6858001"/>
              <a:gd name="connsiteX239" fmla="*/ 11731821 w 12192000"/>
              <a:gd name="connsiteY239" fmla="*/ 6144267 h 6858001"/>
              <a:gd name="connsiteX240" fmla="*/ 11735700 w 12192000"/>
              <a:gd name="connsiteY240" fmla="*/ 6146207 h 6858001"/>
              <a:gd name="connsiteX241" fmla="*/ 11733993 w 12192000"/>
              <a:gd name="connsiteY241" fmla="*/ 6142191 h 6858001"/>
              <a:gd name="connsiteX242" fmla="*/ 11586328 w 12192000"/>
              <a:gd name="connsiteY242" fmla="*/ 6035691 h 6858001"/>
              <a:gd name="connsiteX243" fmla="*/ 11502486 w 12192000"/>
              <a:gd name="connsiteY243" fmla="*/ 6019493 h 6858001"/>
              <a:gd name="connsiteX244" fmla="*/ 11502467 w 12192000"/>
              <a:gd name="connsiteY244" fmla="*/ 6019396 h 6858001"/>
              <a:gd name="connsiteX245" fmla="*/ 11457577 w 12192000"/>
              <a:gd name="connsiteY245" fmla="*/ 6009153 h 6858001"/>
              <a:gd name="connsiteX246" fmla="*/ 11452010 w 12192000"/>
              <a:gd name="connsiteY246" fmla="*/ 6006651 h 6858001"/>
              <a:gd name="connsiteX247" fmla="*/ 11563205 w 12192000"/>
              <a:gd name="connsiteY247" fmla="*/ 5955147 h 6858001"/>
              <a:gd name="connsiteX248" fmla="*/ 11595931 w 12192000"/>
              <a:gd name="connsiteY248" fmla="*/ 5930452 h 6858001"/>
              <a:gd name="connsiteX249" fmla="*/ 11607958 w 12192000"/>
              <a:gd name="connsiteY249" fmla="*/ 5920946 h 6858001"/>
              <a:gd name="connsiteX250" fmla="*/ 11615718 w 12192000"/>
              <a:gd name="connsiteY250" fmla="*/ 5917066 h 6858001"/>
              <a:gd name="connsiteX251" fmla="*/ 11619074 w 12192000"/>
              <a:gd name="connsiteY251" fmla="*/ 5918754 h 6858001"/>
              <a:gd name="connsiteX252" fmla="*/ 11624331 w 12192000"/>
              <a:gd name="connsiteY252" fmla="*/ 5943139 h 6858001"/>
              <a:gd name="connsiteX253" fmla="*/ 11621014 w 12192000"/>
              <a:gd name="connsiteY253" fmla="*/ 5968726 h 6858001"/>
              <a:gd name="connsiteX254" fmla="*/ 11619830 w 12192000"/>
              <a:gd name="connsiteY254" fmla="*/ 5972935 h 6858001"/>
              <a:gd name="connsiteX255" fmla="*/ 11623497 w 12192000"/>
              <a:gd name="connsiteY255" fmla="*/ 5970569 h 6858001"/>
              <a:gd name="connsiteX256" fmla="*/ 11666175 w 12192000"/>
              <a:gd name="connsiteY256" fmla="*/ 5897532 h 6858001"/>
              <a:gd name="connsiteX257" fmla="*/ 11642081 w 12192000"/>
              <a:gd name="connsiteY257" fmla="*/ 5844049 h 6858001"/>
              <a:gd name="connsiteX258" fmla="*/ 11637580 w 12192000"/>
              <a:gd name="connsiteY258" fmla="*/ 5838811 h 6858001"/>
              <a:gd name="connsiteX259" fmla="*/ 11635369 w 12192000"/>
              <a:gd name="connsiteY259" fmla="*/ 5835610 h 6858001"/>
              <a:gd name="connsiteX260" fmla="*/ 11637988 w 12192000"/>
              <a:gd name="connsiteY260" fmla="*/ 5832429 h 6858001"/>
              <a:gd name="connsiteX261" fmla="*/ 11666310 w 12192000"/>
              <a:gd name="connsiteY261" fmla="*/ 5825096 h 6858001"/>
              <a:gd name="connsiteX262" fmla="*/ 11685535 w 12192000"/>
              <a:gd name="connsiteY262" fmla="*/ 5827346 h 6858001"/>
              <a:gd name="connsiteX263" fmla="*/ 11690055 w 12192000"/>
              <a:gd name="connsiteY263" fmla="*/ 5828374 h 6858001"/>
              <a:gd name="connsiteX264" fmla="*/ 11687203 w 12192000"/>
              <a:gd name="connsiteY264" fmla="*/ 5824708 h 6858001"/>
              <a:gd name="connsiteX265" fmla="*/ 11608424 w 12192000"/>
              <a:gd name="connsiteY265" fmla="*/ 5783660 h 6858001"/>
              <a:gd name="connsiteX266" fmla="*/ 11557075 w 12192000"/>
              <a:gd name="connsiteY266" fmla="*/ 5793573 h 6858001"/>
              <a:gd name="connsiteX267" fmla="*/ 11537889 w 12192000"/>
              <a:gd name="connsiteY267" fmla="*/ 5798403 h 6858001"/>
              <a:gd name="connsiteX268" fmla="*/ 11536842 w 12192000"/>
              <a:gd name="connsiteY268" fmla="*/ 5798306 h 6858001"/>
              <a:gd name="connsiteX269" fmla="*/ 11546657 w 12192000"/>
              <a:gd name="connsiteY269" fmla="*/ 5777510 h 6858001"/>
              <a:gd name="connsiteX270" fmla="*/ 11575116 w 12192000"/>
              <a:gd name="connsiteY270" fmla="*/ 5752486 h 6858001"/>
              <a:gd name="connsiteX271" fmla="*/ 11579597 w 12192000"/>
              <a:gd name="connsiteY271" fmla="*/ 5749789 h 6858001"/>
              <a:gd name="connsiteX272" fmla="*/ 11574456 w 12192000"/>
              <a:gd name="connsiteY272" fmla="*/ 5749517 h 6858001"/>
              <a:gd name="connsiteX273" fmla="*/ 11567492 w 12192000"/>
              <a:gd name="connsiteY273" fmla="*/ 5749265 h 6858001"/>
              <a:gd name="connsiteX274" fmla="*/ 11401805 w 12192000"/>
              <a:gd name="connsiteY274" fmla="*/ 5811594 h 6858001"/>
              <a:gd name="connsiteX275" fmla="*/ 11288670 w 12192000"/>
              <a:gd name="connsiteY275" fmla="*/ 5852720 h 6858001"/>
              <a:gd name="connsiteX276" fmla="*/ 11283413 w 12192000"/>
              <a:gd name="connsiteY276" fmla="*/ 5845698 h 6858001"/>
              <a:gd name="connsiteX277" fmla="*/ 11306265 w 12192000"/>
              <a:gd name="connsiteY277" fmla="*/ 5808995 h 6858001"/>
              <a:gd name="connsiteX278" fmla="*/ 11560082 w 12192000"/>
              <a:gd name="connsiteY278" fmla="*/ 5707189 h 6858001"/>
              <a:gd name="connsiteX279" fmla="*/ 11560082 w 12192000"/>
              <a:gd name="connsiteY279" fmla="*/ 5683561 h 6858001"/>
              <a:gd name="connsiteX280" fmla="*/ 11355248 w 12192000"/>
              <a:gd name="connsiteY280" fmla="*/ 5743271 h 6858001"/>
              <a:gd name="connsiteX281" fmla="*/ 11286090 w 12192000"/>
              <a:gd name="connsiteY281" fmla="*/ 5796502 h 6858001"/>
              <a:gd name="connsiteX282" fmla="*/ 11259863 w 12192000"/>
              <a:gd name="connsiteY282" fmla="*/ 5845678 h 6858001"/>
              <a:gd name="connsiteX283" fmla="*/ 11267720 w 12192000"/>
              <a:gd name="connsiteY283" fmla="*/ 5864321 h 6858001"/>
              <a:gd name="connsiteX284" fmla="*/ 11315014 w 12192000"/>
              <a:gd name="connsiteY284" fmla="*/ 5880131 h 6858001"/>
              <a:gd name="connsiteX285" fmla="*/ 11390088 w 12192000"/>
              <a:gd name="connsiteY285" fmla="*/ 5882439 h 6858001"/>
              <a:gd name="connsiteX286" fmla="*/ 11395074 w 12192000"/>
              <a:gd name="connsiteY286" fmla="*/ 5882439 h 6858001"/>
              <a:gd name="connsiteX287" fmla="*/ 11487898 w 12192000"/>
              <a:gd name="connsiteY287" fmla="*/ 5886319 h 6858001"/>
              <a:gd name="connsiteX288" fmla="*/ 11508907 w 12192000"/>
              <a:gd name="connsiteY288" fmla="*/ 5891789 h 6858001"/>
              <a:gd name="connsiteX289" fmla="*/ 11514727 w 12192000"/>
              <a:gd name="connsiteY289" fmla="*/ 5898657 h 6858001"/>
              <a:gd name="connsiteX290" fmla="*/ 11510963 w 12192000"/>
              <a:gd name="connsiteY290" fmla="*/ 5904476 h 6858001"/>
              <a:gd name="connsiteX291" fmla="*/ 11455346 w 12192000"/>
              <a:gd name="connsiteY291" fmla="*/ 5942789 h 6858001"/>
              <a:gd name="connsiteX292" fmla="*/ 11426248 w 12192000"/>
              <a:gd name="connsiteY292" fmla="*/ 5966553 h 6858001"/>
              <a:gd name="connsiteX293" fmla="*/ 11413231 w 12192000"/>
              <a:gd name="connsiteY293" fmla="*/ 5991655 h 6858001"/>
              <a:gd name="connsiteX294" fmla="*/ 11413231 w 12192000"/>
              <a:gd name="connsiteY294" fmla="*/ 5992063 h 6858001"/>
              <a:gd name="connsiteX295" fmla="*/ 11427936 w 12192000"/>
              <a:gd name="connsiteY295" fmla="*/ 6018542 h 6858001"/>
              <a:gd name="connsiteX296" fmla="*/ 11538762 w 12192000"/>
              <a:gd name="connsiteY296" fmla="*/ 6049581 h 6858001"/>
              <a:gd name="connsiteX297" fmla="*/ 11571158 w 12192000"/>
              <a:gd name="connsiteY297" fmla="*/ 6066050 h 6858001"/>
              <a:gd name="connsiteX298" fmla="*/ 11577211 w 12192000"/>
              <a:gd name="connsiteY298" fmla="*/ 6087292 h 6858001"/>
              <a:gd name="connsiteX299" fmla="*/ 11551507 w 12192000"/>
              <a:gd name="connsiteY299" fmla="*/ 6148884 h 6858001"/>
              <a:gd name="connsiteX300" fmla="*/ 11493407 w 12192000"/>
              <a:gd name="connsiteY300" fmla="*/ 6171115 h 6858001"/>
              <a:gd name="connsiteX301" fmla="*/ 11490342 w 12192000"/>
              <a:gd name="connsiteY301" fmla="*/ 6171115 h 6858001"/>
              <a:gd name="connsiteX302" fmla="*/ 11491254 w 12192000"/>
              <a:gd name="connsiteY302" fmla="*/ 6156644 h 6858001"/>
              <a:gd name="connsiteX303" fmla="*/ 11460254 w 12192000"/>
              <a:gd name="connsiteY303" fmla="*/ 6086497 h 6858001"/>
              <a:gd name="connsiteX304" fmla="*/ 11381689 w 12192000"/>
              <a:gd name="connsiteY304" fmla="*/ 6060114 h 6858001"/>
              <a:gd name="connsiteX305" fmla="*/ 11289563 w 12192000"/>
              <a:gd name="connsiteY305" fmla="*/ 6100484 h 6858001"/>
              <a:gd name="connsiteX306" fmla="*/ 11256313 w 12192000"/>
              <a:gd name="connsiteY306" fmla="*/ 6187934 h 6858001"/>
              <a:gd name="connsiteX307" fmla="*/ 11323608 w 12192000"/>
              <a:gd name="connsiteY307" fmla="*/ 6324348 h 6858001"/>
              <a:gd name="connsiteX308" fmla="*/ 11520760 w 12192000"/>
              <a:gd name="connsiteY308" fmla="*/ 6386424 h 6858001"/>
              <a:gd name="connsiteX309" fmla="*/ 11710967 w 12192000"/>
              <a:gd name="connsiteY309" fmla="*/ 6324348 h 6858001"/>
              <a:gd name="connsiteX310" fmla="*/ 11806196 w 12192000"/>
              <a:gd name="connsiteY310" fmla="*/ 6134354 h 6858001"/>
              <a:gd name="connsiteX311" fmla="*/ 11714556 w 12192000"/>
              <a:gd name="connsiteY311" fmla="*/ 5977475 h 6858001"/>
              <a:gd name="connsiteX312" fmla="*/ 11699036 w 12192000"/>
              <a:gd name="connsiteY312" fmla="*/ 5965215 h 6858001"/>
              <a:gd name="connsiteX313" fmla="*/ 11706195 w 12192000"/>
              <a:gd name="connsiteY313" fmla="*/ 5954312 h 6858001"/>
              <a:gd name="connsiteX314" fmla="*/ 11749842 w 12192000"/>
              <a:gd name="connsiteY314" fmla="*/ 5831284 h 6858001"/>
              <a:gd name="connsiteX315" fmla="*/ 11707339 w 12192000"/>
              <a:gd name="connsiteY315" fmla="*/ 5731690 h 6858001"/>
              <a:gd name="connsiteX316" fmla="*/ 11560082 w 12192000"/>
              <a:gd name="connsiteY316" fmla="*/ 5683561 h 6858001"/>
              <a:gd name="connsiteX317" fmla="*/ 0 w 12192000"/>
              <a:gd name="connsiteY317" fmla="*/ 0 h 6858001"/>
              <a:gd name="connsiteX318" fmla="*/ 5718175 w 12192000"/>
              <a:gd name="connsiteY318" fmla="*/ 0 h 6858001"/>
              <a:gd name="connsiteX319" fmla="*/ 5718175 w 12192000"/>
              <a:gd name="connsiteY319" fmla="*/ 2 h 6858001"/>
              <a:gd name="connsiteX320" fmla="*/ 12192000 w 12192000"/>
              <a:gd name="connsiteY320" fmla="*/ 2 h 6858001"/>
              <a:gd name="connsiteX321" fmla="*/ 12192000 w 12192000"/>
              <a:gd name="connsiteY321" fmla="*/ 6858001 h 6858001"/>
              <a:gd name="connsiteX322" fmla="*/ 5087938 w 12192000"/>
              <a:gd name="connsiteY322" fmla="*/ 6858001 h 6858001"/>
              <a:gd name="connsiteX323" fmla="*/ 5087938 w 12192000"/>
              <a:gd name="connsiteY323" fmla="*/ 6857998 h 6858001"/>
              <a:gd name="connsiteX324" fmla="*/ 0 w 12192000"/>
              <a:gd name="connsiteY324" fmla="*/ 6857998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12192000" h="6858001">
                <a:moveTo>
                  <a:pt x="11691026" y="6510557"/>
                </a:moveTo>
                <a:lnTo>
                  <a:pt x="11691006" y="6519248"/>
                </a:lnTo>
                <a:cubicBezTo>
                  <a:pt x="11691006" y="6524350"/>
                  <a:pt x="11690347" y="6538802"/>
                  <a:pt x="11672131" y="6538802"/>
                </a:cubicBezTo>
                <a:cubicBezTo>
                  <a:pt x="11664565" y="6538802"/>
                  <a:pt x="11657834" y="6536668"/>
                  <a:pt x="11657834" y="6527958"/>
                </a:cubicBezTo>
                <a:cubicBezTo>
                  <a:pt x="11657834" y="6519248"/>
                  <a:pt x="11664410" y="6516959"/>
                  <a:pt x="11671627" y="6515485"/>
                </a:cubicBezTo>
                <a:cubicBezTo>
                  <a:pt x="11678843" y="6514010"/>
                  <a:pt x="11687146" y="6514010"/>
                  <a:pt x="11691026" y="6510557"/>
                </a:cubicBezTo>
                <a:close/>
                <a:moveTo>
                  <a:pt x="11763345" y="6482487"/>
                </a:moveTo>
                <a:cubicBezTo>
                  <a:pt x="11778437" y="6482487"/>
                  <a:pt x="11783209" y="6494806"/>
                  <a:pt x="11783209" y="6508579"/>
                </a:cubicBezTo>
                <a:cubicBezTo>
                  <a:pt x="11783209" y="6520742"/>
                  <a:pt x="11776633" y="6532071"/>
                  <a:pt x="11763345" y="6532071"/>
                </a:cubicBezTo>
                <a:cubicBezTo>
                  <a:pt x="11749048" y="6532071"/>
                  <a:pt x="11744469" y="6518763"/>
                  <a:pt x="11744469" y="6506620"/>
                </a:cubicBezTo>
                <a:cubicBezTo>
                  <a:pt x="11744469" y="6493991"/>
                  <a:pt x="11750289" y="6482487"/>
                  <a:pt x="11763345" y="6482487"/>
                </a:cubicBezTo>
                <a:close/>
                <a:moveTo>
                  <a:pt x="11531973" y="6482487"/>
                </a:moveTo>
                <a:cubicBezTo>
                  <a:pt x="11543302" y="6482487"/>
                  <a:pt x="11548403" y="6488734"/>
                  <a:pt x="11550537" y="6500548"/>
                </a:cubicBezTo>
                <a:lnTo>
                  <a:pt x="11512574" y="6500548"/>
                </a:lnTo>
                <a:cubicBezTo>
                  <a:pt x="11512903" y="6493972"/>
                  <a:pt x="11517171" y="6482487"/>
                  <a:pt x="11531973" y="6482487"/>
                </a:cubicBezTo>
                <a:close/>
                <a:moveTo>
                  <a:pt x="11383473" y="6482410"/>
                </a:moveTo>
                <a:cubicBezTo>
                  <a:pt x="11399225" y="6482410"/>
                  <a:pt x="11404153" y="6495989"/>
                  <a:pt x="11404153" y="6509665"/>
                </a:cubicBezTo>
                <a:cubicBezTo>
                  <a:pt x="11404153" y="6523342"/>
                  <a:pt x="11399400" y="6536824"/>
                  <a:pt x="11383473" y="6536824"/>
                </a:cubicBezTo>
                <a:cubicBezTo>
                  <a:pt x="11367721" y="6536824"/>
                  <a:pt x="11362949" y="6523245"/>
                  <a:pt x="11362949" y="6509665"/>
                </a:cubicBezTo>
                <a:cubicBezTo>
                  <a:pt x="11362949" y="6496086"/>
                  <a:pt x="11367721" y="6482410"/>
                  <a:pt x="11383473" y="6482410"/>
                </a:cubicBezTo>
                <a:close/>
                <a:moveTo>
                  <a:pt x="11757661" y="6464970"/>
                </a:moveTo>
                <a:cubicBezTo>
                  <a:pt x="11733858" y="6464970"/>
                  <a:pt x="11721210" y="6485009"/>
                  <a:pt x="11721210" y="6507008"/>
                </a:cubicBezTo>
                <a:cubicBezTo>
                  <a:pt x="11721210" y="6530286"/>
                  <a:pt x="11732035" y="6549685"/>
                  <a:pt x="11757486" y="6549685"/>
                </a:cubicBezTo>
                <a:cubicBezTo>
                  <a:pt x="11767671" y="6549685"/>
                  <a:pt x="11777836" y="6545418"/>
                  <a:pt x="11782938" y="6536552"/>
                </a:cubicBezTo>
                <a:lnTo>
                  <a:pt x="11783267" y="6536552"/>
                </a:lnTo>
                <a:lnTo>
                  <a:pt x="11783267" y="6547707"/>
                </a:lnTo>
                <a:cubicBezTo>
                  <a:pt x="11783423" y="6559870"/>
                  <a:pt x="11777448" y="6568716"/>
                  <a:pt x="11764547" y="6568716"/>
                </a:cubicBezTo>
                <a:cubicBezTo>
                  <a:pt x="11756342" y="6568716"/>
                  <a:pt x="11749280" y="6565767"/>
                  <a:pt x="11747088" y="6557076"/>
                </a:cubicBezTo>
                <a:lnTo>
                  <a:pt x="11723945" y="6557076"/>
                </a:lnTo>
                <a:cubicBezTo>
                  <a:pt x="11725090" y="6576475"/>
                  <a:pt x="11744625" y="6584332"/>
                  <a:pt x="11761366" y="6584332"/>
                </a:cubicBezTo>
                <a:cubicBezTo>
                  <a:pt x="11800435" y="6584332"/>
                  <a:pt x="11805363" y="6560684"/>
                  <a:pt x="11805363" y="6546737"/>
                </a:cubicBezTo>
                <a:lnTo>
                  <a:pt x="11805363" y="6467278"/>
                </a:lnTo>
                <a:lnTo>
                  <a:pt x="11783209" y="6467278"/>
                </a:lnTo>
                <a:lnTo>
                  <a:pt x="11783209" y="6478549"/>
                </a:lnTo>
                <a:lnTo>
                  <a:pt x="11782879" y="6478549"/>
                </a:lnTo>
                <a:cubicBezTo>
                  <a:pt x="11777292" y="6468695"/>
                  <a:pt x="11768757" y="6464970"/>
                  <a:pt x="11757661" y="6464970"/>
                </a:cubicBezTo>
                <a:close/>
                <a:moveTo>
                  <a:pt x="11677020" y="6464931"/>
                </a:moveTo>
                <a:cubicBezTo>
                  <a:pt x="11657970" y="6464931"/>
                  <a:pt x="11638435" y="6471488"/>
                  <a:pt x="11637116" y="6493331"/>
                </a:cubicBezTo>
                <a:lnTo>
                  <a:pt x="11660395" y="6493331"/>
                </a:lnTo>
                <a:cubicBezTo>
                  <a:pt x="11661209" y="6484136"/>
                  <a:pt x="11666951" y="6480528"/>
                  <a:pt x="11675914" y="6480528"/>
                </a:cubicBezTo>
                <a:cubicBezTo>
                  <a:pt x="11684120" y="6480528"/>
                  <a:pt x="11691026" y="6482002"/>
                  <a:pt x="11691026" y="6492012"/>
                </a:cubicBezTo>
                <a:cubicBezTo>
                  <a:pt x="11691026" y="6501537"/>
                  <a:pt x="11677737" y="6501032"/>
                  <a:pt x="11663440" y="6503166"/>
                </a:cubicBezTo>
                <a:cubicBezTo>
                  <a:pt x="11649143" y="6505300"/>
                  <a:pt x="11634594" y="6509743"/>
                  <a:pt x="11634594" y="6528948"/>
                </a:cubicBezTo>
                <a:cubicBezTo>
                  <a:pt x="11634594" y="6546407"/>
                  <a:pt x="11647397" y="6554399"/>
                  <a:pt x="11663479" y="6554399"/>
                </a:cubicBezTo>
                <a:cubicBezTo>
                  <a:pt x="11673819" y="6554399"/>
                  <a:pt x="11684663" y="6551606"/>
                  <a:pt x="11692054" y="6543885"/>
                </a:cubicBezTo>
                <a:cubicBezTo>
                  <a:pt x="11692265" y="6546676"/>
                  <a:pt x="11692812" y="6549431"/>
                  <a:pt x="11693683" y="6552091"/>
                </a:cubicBezTo>
                <a:lnTo>
                  <a:pt x="11717234" y="6552091"/>
                </a:lnTo>
                <a:cubicBezTo>
                  <a:pt x="11715100" y="6548638"/>
                  <a:pt x="11714285" y="6540936"/>
                  <a:pt x="11714285" y="6533215"/>
                </a:cubicBezTo>
                <a:lnTo>
                  <a:pt x="11714285" y="6489063"/>
                </a:lnTo>
                <a:cubicBezTo>
                  <a:pt x="11714285" y="6468694"/>
                  <a:pt x="11693916" y="6464931"/>
                  <a:pt x="11677020" y="6464931"/>
                </a:cubicBezTo>
                <a:close/>
                <a:moveTo>
                  <a:pt x="11532593" y="6464912"/>
                </a:moveTo>
                <a:cubicBezTo>
                  <a:pt x="11506812" y="6464912"/>
                  <a:pt x="11489256" y="6484311"/>
                  <a:pt x="11489256" y="6509724"/>
                </a:cubicBezTo>
                <a:cubicBezTo>
                  <a:pt x="11489256" y="6536009"/>
                  <a:pt x="11505842" y="6554341"/>
                  <a:pt x="11532593" y="6554341"/>
                </a:cubicBezTo>
                <a:cubicBezTo>
                  <a:pt x="11551798" y="6554341"/>
                  <a:pt x="11565746" y="6545806"/>
                  <a:pt x="11572322" y="6525786"/>
                </a:cubicBezTo>
                <a:lnTo>
                  <a:pt x="11551798" y="6525786"/>
                </a:lnTo>
                <a:cubicBezTo>
                  <a:pt x="11550324" y="6531024"/>
                  <a:pt x="11542778" y="6536785"/>
                  <a:pt x="11533427" y="6536785"/>
                </a:cubicBezTo>
                <a:cubicBezTo>
                  <a:pt x="11520450" y="6536785"/>
                  <a:pt x="11513214" y="6530054"/>
                  <a:pt x="11512574" y="6515272"/>
                </a:cubicBezTo>
                <a:lnTo>
                  <a:pt x="11573797" y="6515272"/>
                </a:lnTo>
                <a:cubicBezTo>
                  <a:pt x="11575446" y="6489219"/>
                  <a:pt x="11561478" y="6464912"/>
                  <a:pt x="11532593" y="6464912"/>
                </a:cubicBezTo>
                <a:close/>
                <a:moveTo>
                  <a:pt x="11484290" y="6464912"/>
                </a:moveTo>
                <a:cubicBezTo>
                  <a:pt x="11472474" y="6465067"/>
                  <a:pt x="11461846" y="6472136"/>
                  <a:pt x="11457132" y="6482972"/>
                </a:cubicBezTo>
                <a:lnTo>
                  <a:pt x="11456802" y="6482972"/>
                </a:lnTo>
                <a:lnTo>
                  <a:pt x="11456802" y="6467279"/>
                </a:lnTo>
                <a:lnTo>
                  <a:pt x="11434784" y="6467279"/>
                </a:lnTo>
                <a:lnTo>
                  <a:pt x="11434784" y="6552149"/>
                </a:lnTo>
                <a:lnTo>
                  <a:pt x="11458063" y="6552149"/>
                </a:lnTo>
                <a:lnTo>
                  <a:pt x="11458063" y="6513836"/>
                </a:lnTo>
                <a:cubicBezTo>
                  <a:pt x="11458063" y="6498899"/>
                  <a:pt x="11463882" y="6486678"/>
                  <a:pt x="11481051" y="6486678"/>
                </a:cubicBezTo>
                <a:cubicBezTo>
                  <a:pt x="11483863" y="6486668"/>
                  <a:pt x="11486672" y="6486940"/>
                  <a:pt x="11489431" y="6487492"/>
                </a:cubicBezTo>
                <a:lnTo>
                  <a:pt x="11489392" y="6465746"/>
                </a:lnTo>
                <a:cubicBezTo>
                  <a:pt x="11487743" y="6465217"/>
                  <a:pt x="11486023" y="6464935"/>
                  <a:pt x="11484290" y="6464912"/>
                </a:cubicBezTo>
                <a:close/>
                <a:moveTo>
                  <a:pt x="11383473" y="6464912"/>
                </a:moveTo>
                <a:cubicBezTo>
                  <a:pt x="11356877" y="6464912"/>
                  <a:pt x="11339651" y="6482643"/>
                  <a:pt x="11339651" y="6509724"/>
                </a:cubicBezTo>
                <a:cubicBezTo>
                  <a:pt x="11339651" y="6536805"/>
                  <a:pt x="11356877" y="6554341"/>
                  <a:pt x="11383473" y="6554341"/>
                </a:cubicBezTo>
                <a:cubicBezTo>
                  <a:pt x="11410069" y="6554341"/>
                  <a:pt x="11427470" y="6536611"/>
                  <a:pt x="11427470" y="6509724"/>
                </a:cubicBezTo>
                <a:cubicBezTo>
                  <a:pt x="11427470" y="6482837"/>
                  <a:pt x="11410244" y="6464912"/>
                  <a:pt x="11383473" y="6464912"/>
                </a:cubicBezTo>
                <a:close/>
                <a:moveTo>
                  <a:pt x="11589044" y="6441769"/>
                </a:moveTo>
                <a:lnTo>
                  <a:pt x="11589044" y="6467279"/>
                </a:lnTo>
                <a:lnTo>
                  <a:pt x="11574922" y="6467279"/>
                </a:lnTo>
                <a:lnTo>
                  <a:pt x="11574922" y="6482798"/>
                </a:lnTo>
                <a:lnTo>
                  <a:pt x="11589044" y="6482798"/>
                </a:lnTo>
                <a:lnTo>
                  <a:pt x="11589044" y="6532867"/>
                </a:lnTo>
                <a:cubicBezTo>
                  <a:pt x="11589044" y="6549782"/>
                  <a:pt x="11601518" y="6553061"/>
                  <a:pt x="11615796" y="6553061"/>
                </a:cubicBezTo>
                <a:cubicBezTo>
                  <a:pt x="11620337" y="6553137"/>
                  <a:pt x="11624876" y="6552863"/>
                  <a:pt x="11629375" y="6552246"/>
                </a:cubicBezTo>
                <a:lnTo>
                  <a:pt x="11629375" y="6534011"/>
                </a:lnTo>
                <a:cubicBezTo>
                  <a:pt x="11626997" y="6534471"/>
                  <a:pt x="11624579" y="6534692"/>
                  <a:pt x="11622158" y="6534671"/>
                </a:cubicBezTo>
                <a:cubicBezTo>
                  <a:pt x="11614263" y="6534671"/>
                  <a:pt x="11612304" y="6532731"/>
                  <a:pt x="11612304" y="6524816"/>
                </a:cubicBezTo>
                <a:lnTo>
                  <a:pt x="11612304" y="6482798"/>
                </a:lnTo>
                <a:lnTo>
                  <a:pt x="11629375" y="6482798"/>
                </a:lnTo>
                <a:lnTo>
                  <a:pt x="11629375" y="6467279"/>
                </a:lnTo>
                <a:lnTo>
                  <a:pt x="11612304" y="6467279"/>
                </a:lnTo>
                <a:lnTo>
                  <a:pt x="11612323" y="6441769"/>
                </a:lnTo>
                <a:close/>
                <a:moveTo>
                  <a:pt x="11389390" y="6434882"/>
                </a:moveTo>
                <a:lnTo>
                  <a:pt x="11389390" y="6454087"/>
                </a:lnTo>
                <a:lnTo>
                  <a:pt x="11411544" y="6454087"/>
                </a:lnTo>
                <a:lnTo>
                  <a:pt x="11411544" y="6434882"/>
                </a:lnTo>
                <a:close/>
                <a:moveTo>
                  <a:pt x="11355578" y="6434882"/>
                </a:moveTo>
                <a:lnTo>
                  <a:pt x="11355578" y="6454087"/>
                </a:lnTo>
                <a:lnTo>
                  <a:pt x="11377732" y="6454087"/>
                </a:lnTo>
                <a:lnTo>
                  <a:pt x="11377732" y="6434882"/>
                </a:lnTo>
                <a:close/>
                <a:moveTo>
                  <a:pt x="11257148" y="6434882"/>
                </a:moveTo>
                <a:lnTo>
                  <a:pt x="11257148" y="6552091"/>
                </a:lnTo>
                <a:lnTo>
                  <a:pt x="11282929" y="6552091"/>
                </a:lnTo>
                <a:lnTo>
                  <a:pt x="11282929" y="6503671"/>
                </a:lnTo>
                <a:lnTo>
                  <a:pt x="11332009" y="6503671"/>
                </a:lnTo>
                <a:lnTo>
                  <a:pt x="11332009" y="6483651"/>
                </a:lnTo>
                <a:lnTo>
                  <a:pt x="11282929" y="6483651"/>
                </a:lnTo>
                <a:lnTo>
                  <a:pt x="11282929" y="6456551"/>
                </a:lnTo>
                <a:lnTo>
                  <a:pt x="11339574" y="6456551"/>
                </a:lnTo>
                <a:lnTo>
                  <a:pt x="11339574" y="6434882"/>
                </a:lnTo>
                <a:close/>
                <a:moveTo>
                  <a:pt x="11587492" y="6050764"/>
                </a:moveTo>
                <a:cubicBezTo>
                  <a:pt x="11633235" y="6061686"/>
                  <a:pt x="11680743" y="6085197"/>
                  <a:pt x="11707165" y="6120600"/>
                </a:cubicBezTo>
                <a:cubicBezTo>
                  <a:pt x="11697983" y="6117401"/>
                  <a:pt x="11688332" y="6115749"/>
                  <a:pt x="11678609" y="6115712"/>
                </a:cubicBezTo>
                <a:cubicBezTo>
                  <a:pt x="11670074" y="6115848"/>
                  <a:pt x="11663284" y="6124732"/>
                  <a:pt x="11663265" y="6134897"/>
                </a:cubicBezTo>
                <a:cubicBezTo>
                  <a:pt x="11663265" y="6140232"/>
                  <a:pt x="11665205" y="6146265"/>
                  <a:pt x="11667707" y="6153831"/>
                </a:cubicBezTo>
                <a:cubicBezTo>
                  <a:pt x="11671587" y="6165470"/>
                  <a:pt x="11676437" y="6180679"/>
                  <a:pt x="11676437" y="6198759"/>
                </a:cubicBezTo>
                <a:cubicBezTo>
                  <a:pt x="11676437" y="6215403"/>
                  <a:pt x="11672305" y="6234550"/>
                  <a:pt x="11659172" y="6255947"/>
                </a:cubicBezTo>
                <a:cubicBezTo>
                  <a:pt x="11658784" y="6238701"/>
                  <a:pt x="11654128" y="6224909"/>
                  <a:pt x="11648153" y="6217537"/>
                </a:cubicBezTo>
                <a:cubicBezTo>
                  <a:pt x="11643458" y="6211834"/>
                  <a:pt x="11638453" y="6210379"/>
                  <a:pt x="11635078" y="6210398"/>
                </a:cubicBezTo>
                <a:cubicBezTo>
                  <a:pt x="11629844" y="6210526"/>
                  <a:pt x="11624959" y="6213050"/>
                  <a:pt x="11621829" y="6217246"/>
                </a:cubicBezTo>
                <a:cubicBezTo>
                  <a:pt x="11617939" y="6222261"/>
                  <a:pt x="11614554" y="6227648"/>
                  <a:pt x="11611722" y="6233328"/>
                </a:cubicBezTo>
                <a:cubicBezTo>
                  <a:pt x="11599132" y="6255908"/>
                  <a:pt x="11579325" y="6291913"/>
                  <a:pt x="11517326" y="6310555"/>
                </a:cubicBezTo>
                <a:cubicBezTo>
                  <a:pt x="11522933" y="6300855"/>
                  <a:pt x="11525842" y="6291001"/>
                  <a:pt x="11525862" y="6283047"/>
                </a:cubicBezTo>
                <a:cubicBezTo>
                  <a:pt x="11525916" y="6280178"/>
                  <a:pt x="11525416" y="6277326"/>
                  <a:pt x="11524387" y="6274648"/>
                </a:cubicBezTo>
                <a:cubicBezTo>
                  <a:pt x="11522764" y="6270126"/>
                  <a:pt x="11518484" y="6267101"/>
                  <a:pt x="11513679" y="6267082"/>
                </a:cubicBezTo>
                <a:lnTo>
                  <a:pt x="11513524" y="6267082"/>
                </a:lnTo>
                <a:cubicBezTo>
                  <a:pt x="11506773" y="6267334"/>
                  <a:pt x="11498858" y="6269487"/>
                  <a:pt x="11489721" y="6272106"/>
                </a:cubicBezTo>
                <a:cubicBezTo>
                  <a:pt x="11475521" y="6276102"/>
                  <a:pt x="11458062" y="6281049"/>
                  <a:pt x="11439090" y="6281049"/>
                </a:cubicBezTo>
                <a:cubicBezTo>
                  <a:pt x="11419381" y="6281049"/>
                  <a:pt x="11397848" y="6275889"/>
                  <a:pt x="11375714" y="6259128"/>
                </a:cubicBezTo>
                <a:cubicBezTo>
                  <a:pt x="11382806" y="6258286"/>
                  <a:pt x="11389524" y="6255485"/>
                  <a:pt x="11395113" y="6251039"/>
                </a:cubicBezTo>
                <a:cubicBezTo>
                  <a:pt x="11399066" y="6247927"/>
                  <a:pt x="11401484" y="6243260"/>
                  <a:pt x="11401747" y="6238236"/>
                </a:cubicBezTo>
                <a:cubicBezTo>
                  <a:pt x="11401747" y="6230980"/>
                  <a:pt x="11395927" y="6226014"/>
                  <a:pt x="11389448" y="6220039"/>
                </a:cubicBezTo>
                <a:cubicBezTo>
                  <a:pt x="11379981" y="6211097"/>
                  <a:pt x="11368652" y="6200640"/>
                  <a:pt x="11368672" y="6182890"/>
                </a:cubicBezTo>
                <a:cubicBezTo>
                  <a:pt x="11368748" y="6176931"/>
                  <a:pt x="11369830" y="6171030"/>
                  <a:pt x="11371873" y="6165431"/>
                </a:cubicBezTo>
                <a:cubicBezTo>
                  <a:pt x="11373810" y="6170929"/>
                  <a:pt x="11376772" y="6176012"/>
                  <a:pt x="11380602" y="6180407"/>
                </a:cubicBezTo>
                <a:cubicBezTo>
                  <a:pt x="11386422" y="6186634"/>
                  <a:pt x="11393309" y="6190495"/>
                  <a:pt x="11400001" y="6190495"/>
                </a:cubicBezTo>
                <a:cubicBezTo>
                  <a:pt x="11407121" y="6190592"/>
                  <a:pt x="11411330" y="6187158"/>
                  <a:pt x="11413134" y="6182871"/>
                </a:cubicBezTo>
                <a:cubicBezTo>
                  <a:pt x="11414587" y="6178692"/>
                  <a:pt x="11415193" y="6174269"/>
                  <a:pt x="11414919" y="6169854"/>
                </a:cubicBezTo>
                <a:cubicBezTo>
                  <a:pt x="11415029" y="6165420"/>
                  <a:pt x="11416933" y="6161220"/>
                  <a:pt x="11420196" y="6158215"/>
                </a:cubicBezTo>
                <a:cubicBezTo>
                  <a:pt x="11423497" y="6154940"/>
                  <a:pt x="11427942" y="6153076"/>
                  <a:pt x="11432592" y="6153016"/>
                </a:cubicBezTo>
                <a:cubicBezTo>
                  <a:pt x="11443009" y="6153016"/>
                  <a:pt x="11450904" y="6158836"/>
                  <a:pt x="11456433" y="6167488"/>
                </a:cubicBezTo>
                <a:cubicBezTo>
                  <a:pt x="11461985" y="6176883"/>
                  <a:pt x="11464868" y="6187614"/>
                  <a:pt x="11464774" y="6198526"/>
                </a:cubicBezTo>
                <a:cubicBezTo>
                  <a:pt x="11464869" y="6204823"/>
                  <a:pt x="11463748" y="6211081"/>
                  <a:pt x="11461477" y="6216955"/>
                </a:cubicBezTo>
                <a:lnTo>
                  <a:pt x="11459090" y="6222775"/>
                </a:lnTo>
                <a:lnTo>
                  <a:pt x="11463998" y="6218895"/>
                </a:lnTo>
                <a:cubicBezTo>
                  <a:pt x="11472474" y="6212189"/>
                  <a:pt x="11479308" y="6203636"/>
                  <a:pt x="11483979" y="6193890"/>
                </a:cubicBezTo>
                <a:cubicBezTo>
                  <a:pt x="11486482" y="6194006"/>
                  <a:pt x="11488946" y="6194064"/>
                  <a:pt x="11491390" y="6194064"/>
                </a:cubicBezTo>
                <a:lnTo>
                  <a:pt x="11491390" y="6193987"/>
                </a:lnTo>
                <a:cubicBezTo>
                  <a:pt x="11522079" y="6193987"/>
                  <a:pt x="11547647" y="6184656"/>
                  <a:pt x="11567473" y="6166479"/>
                </a:cubicBezTo>
                <a:cubicBezTo>
                  <a:pt x="11588617" y="6147216"/>
                  <a:pt x="11600645" y="6118408"/>
                  <a:pt x="11600645" y="6087447"/>
                </a:cubicBezTo>
                <a:cubicBezTo>
                  <a:pt x="11600645" y="6072627"/>
                  <a:pt x="11596028" y="6060289"/>
                  <a:pt x="11587492" y="6050764"/>
                </a:cubicBezTo>
                <a:close/>
                <a:moveTo>
                  <a:pt x="11538859" y="5766142"/>
                </a:moveTo>
                <a:cubicBezTo>
                  <a:pt x="11528869" y="5777452"/>
                  <a:pt x="11522409" y="5790314"/>
                  <a:pt x="11522370" y="5801410"/>
                </a:cubicBezTo>
                <a:cubicBezTo>
                  <a:pt x="11522314" y="5804317"/>
                  <a:pt x="11523359" y="5807138"/>
                  <a:pt x="11525299" y="5809305"/>
                </a:cubicBezTo>
                <a:cubicBezTo>
                  <a:pt x="11527914" y="5811904"/>
                  <a:pt x="11531513" y="5813265"/>
                  <a:pt x="11535193" y="5813049"/>
                </a:cubicBezTo>
                <a:cubicBezTo>
                  <a:pt x="11542952" y="5813049"/>
                  <a:pt x="11551507" y="5810081"/>
                  <a:pt x="11561478" y="5806900"/>
                </a:cubicBezTo>
                <a:cubicBezTo>
                  <a:pt x="11575058" y="5802457"/>
                  <a:pt x="11590577" y="5797375"/>
                  <a:pt x="11607784" y="5797375"/>
                </a:cubicBezTo>
                <a:cubicBezTo>
                  <a:pt x="11622760" y="5797375"/>
                  <a:pt x="11638938" y="5801255"/>
                  <a:pt x="11656184" y="5812758"/>
                </a:cubicBezTo>
                <a:cubicBezTo>
                  <a:pt x="11644739" y="5813495"/>
                  <a:pt x="11635350" y="5816851"/>
                  <a:pt x="11629472" y="5821488"/>
                </a:cubicBezTo>
                <a:cubicBezTo>
                  <a:pt x="11623109" y="5826396"/>
                  <a:pt x="11621538" y="5831982"/>
                  <a:pt x="11621576" y="5835843"/>
                </a:cubicBezTo>
                <a:cubicBezTo>
                  <a:pt x="11621576" y="5842186"/>
                  <a:pt x="11626077" y="5846978"/>
                  <a:pt x="11631606" y="5853302"/>
                </a:cubicBezTo>
                <a:cubicBezTo>
                  <a:pt x="11640413" y="5863312"/>
                  <a:pt x="11652052" y="5876464"/>
                  <a:pt x="11652149" y="5897609"/>
                </a:cubicBezTo>
                <a:cubicBezTo>
                  <a:pt x="11651759" y="5913516"/>
                  <a:pt x="11646640" y="5928948"/>
                  <a:pt x="11637445" y="5941936"/>
                </a:cubicBezTo>
                <a:cubicBezTo>
                  <a:pt x="11637445" y="5941043"/>
                  <a:pt x="11637445" y="5940132"/>
                  <a:pt x="11637445" y="5939201"/>
                </a:cubicBezTo>
                <a:cubicBezTo>
                  <a:pt x="11637445" y="5928473"/>
                  <a:pt x="11635059" y="5916349"/>
                  <a:pt x="11629181" y="5909481"/>
                </a:cubicBezTo>
                <a:cubicBezTo>
                  <a:pt x="11625799" y="5905489"/>
                  <a:pt x="11620831" y="5903190"/>
                  <a:pt x="11615601" y="5903196"/>
                </a:cubicBezTo>
                <a:cubicBezTo>
                  <a:pt x="11606542" y="5903196"/>
                  <a:pt x="11598724" y="5910180"/>
                  <a:pt x="11587085" y="5919763"/>
                </a:cubicBezTo>
                <a:cubicBezTo>
                  <a:pt x="11577147" y="5928339"/>
                  <a:pt x="11566642" y="5936233"/>
                  <a:pt x="11555639" y="5943391"/>
                </a:cubicBezTo>
                <a:cubicBezTo>
                  <a:pt x="11501128" y="5977727"/>
                  <a:pt x="11471913" y="5991054"/>
                  <a:pt x="11451176" y="5992742"/>
                </a:cubicBezTo>
                <a:cubicBezTo>
                  <a:pt x="11443552" y="5993362"/>
                  <a:pt x="11432068" y="5993227"/>
                  <a:pt x="11441437" y="5983857"/>
                </a:cubicBezTo>
                <a:cubicBezTo>
                  <a:pt x="11451021" y="5974274"/>
                  <a:pt x="11470827" y="5960714"/>
                  <a:pt x="11485609" y="5951344"/>
                </a:cubicBezTo>
                <a:cubicBezTo>
                  <a:pt x="11500100" y="5942033"/>
                  <a:pt x="11513117" y="5933730"/>
                  <a:pt x="11522642" y="5925389"/>
                </a:cubicBezTo>
                <a:cubicBezTo>
                  <a:pt x="11532166" y="5917047"/>
                  <a:pt x="11538335" y="5908570"/>
                  <a:pt x="11538374" y="5898754"/>
                </a:cubicBezTo>
                <a:cubicBezTo>
                  <a:pt x="11538395" y="5891079"/>
                  <a:pt x="11535317" y="5883720"/>
                  <a:pt x="11529839" y="5878346"/>
                </a:cubicBezTo>
                <a:cubicBezTo>
                  <a:pt x="11519732" y="5868414"/>
                  <a:pt x="11501846" y="5863758"/>
                  <a:pt x="11479537" y="5861275"/>
                </a:cubicBezTo>
                <a:cubicBezTo>
                  <a:pt x="11457228" y="5858792"/>
                  <a:pt x="11430380" y="5858734"/>
                  <a:pt x="11402562" y="5858734"/>
                </a:cubicBezTo>
                <a:lnTo>
                  <a:pt x="11394938" y="5858734"/>
                </a:lnTo>
                <a:cubicBezTo>
                  <a:pt x="11372028" y="5858734"/>
                  <a:pt x="11353754" y="5858404"/>
                  <a:pt x="11339185" y="5857822"/>
                </a:cubicBezTo>
                <a:cubicBezTo>
                  <a:pt x="11359419" y="5849946"/>
                  <a:pt x="11382853" y="5837453"/>
                  <a:pt x="11408382" y="5823816"/>
                </a:cubicBezTo>
                <a:cubicBezTo>
                  <a:pt x="11449779" y="5801662"/>
                  <a:pt x="11495677" y="5777083"/>
                  <a:pt x="11538859" y="5766142"/>
                </a:cubicBezTo>
                <a:close/>
                <a:moveTo>
                  <a:pt x="11560082" y="5707189"/>
                </a:moveTo>
                <a:cubicBezTo>
                  <a:pt x="11613953" y="5707189"/>
                  <a:pt x="11657794" y="5720516"/>
                  <a:pt x="11686931" y="5745386"/>
                </a:cubicBezTo>
                <a:cubicBezTo>
                  <a:pt x="11712123" y="5766782"/>
                  <a:pt x="11726467" y="5798293"/>
                  <a:pt x="11726059" y="5831342"/>
                </a:cubicBezTo>
                <a:cubicBezTo>
                  <a:pt x="11726059" y="5883448"/>
                  <a:pt x="11701519" y="5919375"/>
                  <a:pt x="11686582" y="5941102"/>
                </a:cubicBezTo>
                <a:cubicBezTo>
                  <a:pt x="11678958" y="5952101"/>
                  <a:pt x="11674419" y="5958561"/>
                  <a:pt x="11674342" y="5965913"/>
                </a:cubicBezTo>
                <a:cubicBezTo>
                  <a:pt x="11674342" y="5971733"/>
                  <a:pt x="11677135" y="5976641"/>
                  <a:pt x="11681655" y="5981277"/>
                </a:cubicBezTo>
                <a:cubicBezTo>
                  <a:pt x="11687535" y="5986806"/>
                  <a:pt x="11693818" y="5991890"/>
                  <a:pt x="11700453" y="5996486"/>
                </a:cubicBezTo>
                <a:cubicBezTo>
                  <a:pt x="11731491" y="6019474"/>
                  <a:pt x="11782471" y="6056972"/>
                  <a:pt x="11782491" y="6134432"/>
                </a:cubicBezTo>
                <a:cubicBezTo>
                  <a:pt x="11782491" y="6222445"/>
                  <a:pt x="11735933" y="6275928"/>
                  <a:pt x="11696825" y="6305472"/>
                </a:cubicBezTo>
                <a:cubicBezTo>
                  <a:pt x="11648560" y="6341865"/>
                  <a:pt x="11584311" y="6362777"/>
                  <a:pt x="11520760" y="6362758"/>
                </a:cubicBezTo>
                <a:cubicBezTo>
                  <a:pt x="11362018" y="6362699"/>
                  <a:pt x="11279960" y="6274454"/>
                  <a:pt x="11279960" y="6187934"/>
                </a:cubicBezTo>
                <a:cubicBezTo>
                  <a:pt x="11280066" y="6161569"/>
                  <a:pt x="11289713" y="6136135"/>
                  <a:pt x="11307119" y="6116333"/>
                </a:cubicBezTo>
                <a:cubicBezTo>
                  <a:pt x="11324578" y="6096604"/>
                  <a:pt x="11350029" y="6083354"/>
                  <a:pt x="11381902" y="6083354"/>
                </a:cubicBezTo>
                <a:cubicBezTo>
                  <a:pt x="11399710" y="6083354"/>
                  <a:pt x="11422194" y="6087525"/>
                  <a:pt x="11440099" y="6099455"/>
                </a:cubicBezTo>
                <a:cubicBezTo>
                  <a:pt x="11458004" y="6111386"/>
                  <a:pt x="11471312" y="6130921"/>
                  <a:pt x="11471351" y="6162560"/>
                </a:cubicBezTo>
                <a:cubicBezTo>
                  <a:pt x="11471351" y="6163472"/>
                  <a:pt x="11471351" y="6164500"/>
                  <a:pt x="11471351" y="6165315"/>
                </a:cubicBezTo>
                <a:cubicBezTo>
                  <a:pt x="11469560" y="6161274"/>
                  <a:pt x="11467236" y="6157489"/>
                  <a:pt x="11464445" y="6154064"/>
                </a:cubicBezTo>
                <a:cubicBezTo>
                  <a:pt x="11456747" y="6144428"/>
                  <a:pt x="11445000" y="6138927"/>
                  <a:pt x="11432669" y="6139185"/>
                </a:cubicBezTo>
                <a:cubicBezTo>
                  <a:pt x="11415617" y="6139185"/>
                  <a:pt x="11401126" y="6153152"/>
                  <a:pt x="11401088" y="6169893"/>
                </a:cubicBezTo>
                <a:cubicBezTo>
                  <a:pt x="11401188" y="6171928"/>
                  <a:pt x="11400925" y="6173965"/>
                  <a:pt x="11400312" y="6175907"/>
                </a:cubicBezTo>
                <a:cubicBezTo>
                  <a:pt x="11400216" y="6176141"/>
                  <a:pt x="11400092" y="6176363"/>
                  <a:pt x="11399943" y="6176566"/>
                </a:cubicBezTo>
                <a:cubicBezTo>
                  <a:pt x="11395792" y="6176469"/>
                  <a:pt x="11390825" y="6173598"/>
                  <a:pt x="11386907" y="6167934"/>
                </a:cubicBezTo>
                <a:cubicBezTo>
                  <a:pt x="11382106" y="6160455"/>
                  <a:pt x="11379697" y="6151693"/>
                  <a:pt x="11380001" y="6142812"/>
                </a:cubicBezTo>
                <a:cubicBezTo>
                  <a:pt x="11379998" y="6140550"/>
                  <a:pt x="11380121" y="6138290"/>
                  <a:pt x="11380369" y="6136042"/>
                </a:cubicBezTo>
                <a:lnTo>
                  <a:pt x="11380893" y="6130979"/>
                </a:lnTo>
                <a:lnTo>
                  <a:pt x="11377479" y="6134859"/>
                </a:lnTo>
                <a:cubicBezTo>
                  <a:pt x="11361417" y="6152725"/>
                  <a:pt x="11355636" y="6168865"/>
                  <a:pt x="11355636" y="6182774"/>
                </a:cubicBezTo>
                <a:cubicBezTo>
                  <a:pt x="11355636" y="6205548"/>
                  <a:pt x="11371000" y="6221766"/>
                  <a:pt x="11380059" y="6230263"/>
                </a:cubicBezTo>
                <a:cubicBezTo>
                  <a:pt x="11381747" y="6231776"/>
                  <a:pt x="11383784" y="6233677"/>
                  <a:pt x="11385374" y="6235365"/>
                </a:cubicBezTo>
                <a:cubicBezTo>
                  <a:pt x="11386067" y="6236061"/>
                  <a:pt x="11386714" y="6236798"/>
                  <a:pt x="11387314" y="6237576"/>
                </a:cubicBezTo>
                <a:cubicBezTo>
                  <a:pt x="11387507" y="6237822"/>
                  <a:pt x="11387682" y="6238082"/>
                  <a:pt x="11387838" y="6238352"/>
                </a:cubicBezTo>
                <a:lnTo>
                  <a:pt x="11387838" y="6238507"/>
                </a:lnTo>
                <a:cubicBezTo>
                  <a:pt x="11387702" y="6239322"/>
                  <a:pt x="11386034" y="6241514"/>
                  <a:pt x="11381786" y="6243202"/>
                </a:cubicBezTo>
                <a:cubicBezTo>
                  <a:pt x="11377227" y="6245142"/>
                  <a:pt x="11369933" y="6246616"/>
                  <a:pt x="11359516" y="6246616"/>
                </a:cubicBezTo>
                <a:cubicBezTo>
                  <a:pt x="11355888" y="6246616"/>
                  <a:pt x="11351892" y="6246441"/>
                  <a:pt x="11347488" y="6246034"/>
                </a:cubicBezTo>
                <a:lnTo>
                  <a:pt x="11343608" y="6245665"/>
                </a:lnTo>
                <a:lnTo>
                  <a:pt x="11346169" y="6248750"/>
                </a:lnTo>
                <a:cubicBezTo>
                  <a:pt x="11376567" y="6284987"/>
                  <a:pt x="11410186" y="6294900"/>
                  <a:pt x="11439284" y="6294881"/>
                </a:cubicBezTo>
                <a:cubicBezTo>
                  <a:pt x="11460778" y="6294881"/>
                  <a:pt x="11479847" y="6289527"/>
                  <a:pt x="11493601" y="6285686"/>
                </a:cubicBezTo>
                <a:cubicBezTo>
                  <a:pt x="11499421" y="6284037"/>
                  <a:pt x="11505958" y="6281573"/>
                  <a:pt x="11509567" y="6281631"/>
                </a:cubicBezTo>
                <a:cubicBezTo>
                  <a:pt x="11511080" y="6281631"/>
                  <a:pt x="11511701" y="6281980"/>
                  <a:pt x="11511972" y="6282407"/>
                </a:cubicBezTo>
                <a:cubicBezTo>
                  <a:pt x="11512463" y="6283237"/>
                  <a:pt x="11512686" y="6284200"/>
                  <a:pt x="11512612" y="6285162"/>
                </a:cubicBezTo>
                <a:cubicBezTo>
                  <a:pt x="11512612" y="6289352"/>
                  <a:pt x="11510149" y="6297015"/>
                  <a:pt x="11505978" y="6304871"/>
                </a:cubicBezTo>
                <a:cubicBezTo>
                  <a:pt x="11501768" y="6313038"/>
                  <a:pt x="11496236" y="6320452"/>
                  <a:pt x="11489605" y="6326811"/>
                </a:cubicBezTo>
                <a:lnTo>
                  <a:pt x="11485725" y="6330342"/>
                </a:lnTo>
                <a:lnTo>
                  <a:pt x="11490924" y="6329663"/>
                </a:lnTo>
                <a:cubicBezTo>
                  <a:pt x="11579733" y="6318256"/>
                  <a:pt x="11609258" y="6266772"/>
                  <a:pt x="11623982" y="6240234"/>
                </a:cubicBezTo>
                <a:cubicBezTo>
                  <a:pt x="11626023" y="6236265"/>
                  <a:pt x="11628271" y="6232406"/>
                  <a:pt x="11630713" y="6228672"/>
                </a:cubicBezTo>
                <a:cubicBezTo>
                  <a:pt x="11632653" y="6225704"/>
                  <a:pt x="11634690" y="6224249"/>
                  <a:pt x="11635175" y="6224424"/>
                </a:cubicBezTo>
                <a:cubicBezTo>
                  <a:pt x="11635990" y="6224424"/>
                  <a:pt x="11637348" y="6225180"/>
                  <a:pt x="11638803" y="6227372"/>
                </a:cubicBezTo>
                <a:cubicBezTo>
                  <a:pt x="11643187" y="6233832"/>
                  <a:pt x="11646853" y="6250050"/>
                  <a:pt x="11646814" y="6266927"/>
                </a:cubicBezTo>
                <a:cubicBezTo>
                  <a:pt x="11646861" y="6274240"/>
                  <a:pt x="11646128" y="6281536"/>
                  <a:pt x="11644622" y="6288692"/>
                </a:cubicBezTo>
                <a:lnTo>
                  <a:pt x="11643517" y="6293833"/>
                </a:lnTo>
                <a:lnTo>
                  <a:pt x="11647396" y="6290244"/>
                </a:lnTo>
                <a:cubicBezTo>
                  <a:pt x="11680918" y="6259206"/>
                  <a:pt x="11690074" y="6226577"/>
                  <a:pt x="11690074" y="6199418"/>
                </a:cubicBezTo>
                <a:cubicBezTo>
                  <a:pt x="11690074" y="6178584"/>
                  <a:pt x="11684720" y="6160970"/>
                  <a:pt x="11680995" y="6149563"/>
                </a:cubicBezTo>
                <a:cubicBezTo>
                  <a:pt x="11678939" y="6143258"/>
                  <a:pt x="11677232" y="6137594"/>
                  <a:pt x="11677251" y="6134956"/>
                </a:cubicBezTo>
                <a:cubicBezTo>
                  <a:pt x="11677110" y="6133561"/>
                  <a:pt x="11677409" y="6132156"/>
                  <a:pt x="11678105" y="6130940"/>
                </a:cubicBezTo>
                <a:cubicBezTo>
                  <a:pt x="11678786" y="6130209"/>
                  <a:pt x="11679696" y="6129729"/>
                  <a:pt x="11680685" y="6129582"/>
                </a:cubicBezTo>
                <a:cubicBezTo>
                  <a:pt x="11694846" y="6129582"/>
                  <a:pt x="11711723" y="6134684"/>
                  <a:pt x="11731821" y="6144267"/>
                </a:cubicBezTo>
                <a:lnTo>
                  <a:pt x="11735700" y="6146207"/>
                </a:lnTo>
                <a:lnTo>
                  <a:pt x="11733993" y="6142191"/>
                </a:lnTo>
                <a:cubicBezTo>
                  <a:pt x="11706621" y="6078175"/>
                  <a:pt x="11645689" y="6050667"/>
                  <a:pt x="11586328" y="6035691"/>
                </a:cubicBezTo>
                <a:cubicBezTo>
                  <a:pt x="11556609" y="6028164"/>
                  <a:pt x="11527220" y="6023761"/>
                  <a:pt x="11502486" y="6019493"/>
                </a:cubicBezTo>
                <a:lnTo>
                  <a:pt x="11502467" y="6019396"/>
                </a:lnTo>
                <a:cubicBezTo>
                  <a:pt x="11484464" y="6016292"/>
                  <a:pt x="11468887" y="6013208"/>
                  <a:pt x="11457577" y="6009153"/>
                </a:cubicBezTo>
                <a:cubicBezTo>
                  <a:pt x="11455637" y="6008338"/>
                  <a:pt x="11453833" y="6007485"/>
                  <a:pt x="11452010" y="6006651"/>
                </a:cubicBezTo>
                <a:cubicBezTo>
                  <a:pt x="11485919" y="6002383"/>
                  <a:pt x="11526871" y="5978483"/>
                  <a:pt x="11563205" y="5955147"/>
                </a:cubicBezTo>
                <a:cubicBezTo>
                  <a:pt x="11574641" y="5947637"/>
                  <a:pt x="11585572" y="5939389"/>
                  <a:pt x="11595931" y="5930452"/>
                </a:cubicBezTo>
                <a:cubicBezTo>
                  <a:pt x="11600354" y="5926785"/>
                  <a:pt x="11604466" y="5923371"/>
                  <a:pt x="11607958" y="5920946"/>
                </a:cubicBezTo>
                <a:cubicBezTo>
                  <a:pt x="11611450" y="5918521"/>
                  <a:pt x="11614321" y="5917066"/>
                  <a:pt x="11615718" y="5917066"/>
                </a:cubicBezTo>
                <a:cubicBezTo>
                  <a:pt x="11617031" y="5917105"/>
                  <a:pt x="11618259" y="5917722"/>
                  <a:pt x="11619074" y="5918754"/>
                </a:cubicBezTo>
                <a:cubicBezTo>
                  <a:pt x="11622410" y="5922343"/>
                  <a:pt x="11624389" y="5932333"/>
                  <a:pt x="11624331" y="5943139"/>
                </a:cubicBezTo>
                <a:cubicBezTo>
                  <a:pt x="11624337" y="5951775"/>
                  <a:pt x="11623221" y="5960376"/>
                  <a:pt x="11621014" y="5968726"/>
                </a:cubicBezTo>
                <a:lnTo>
                  <a:pt x="11619830" y="5972935"/>
                </a:lnTo>
                <a:lnTo>
                  <a:pt x="11623497" y="5970569"/>
                </a:lnTo>
                <a:cubicBezTo>
                  <a:pt x="11652343" y="5952004"/>
                  <a:pt x="11666175" y="5923895"/>
                  <a:pt x="11666175" y="5897532"/>
                </a:cubicBezTo>
                <a:cubicBezTo>
                  <a:pt x="11666175" y="5871168"/>
                  <a:pt x="11651528" y="5854621"/>
                  <a:pt x="11642081" y="5844049"/>
                </a:cubicBezTo>
                <a:cubicBezTo>
                  <a:pt x="11640626" y="5842419"/>
                  <a:pt x="11638938" y="5840499"/>
                  <a:pt x="11637580" y="5838811"/>
                </a:cubicBezTo>
                <a:cubicBezTo>
                  <a:pt x="11636764" y="5837801"/>
                  <a:pt x="11636025" y="5836731"/>
                  <a:pt x="11635369" y="5835610"/>
                </a:cubicBezTo>
                <a:cubicBezTo>
                  <a:pt x="11635891" y="5834304"/>
                  <a:pt x="11636806" y="5833192"/>
                  <a:pt x="11637988" y="5832429"/>
                </a:cubicBezTo>
                <a:cubicBezTo>
                  <a:pt x="11644040" y="5827889"/>
                  <a:pt x="11654341" y="5825096"/>
                  <a:pt x="11666310" y="5825096"/>
                </a:cubicBezTo>
                <a:cubicBezTo>
                  <a:pt x="11672784" y="5825117"/>
                  <a:pt x="11679232" y="5825872"/>
                  <a:pt x="11685535" y="5827346"/>
                </a:cubicBezTo>
                <a:lnTo>
                  <a:pt x="11690055" y="5828374"/>
                </a:lnTo>
                <a:lnTo>
                  <a:pt x="11687203" y="5824708"/>
                </a:lnTo>
                <a:cubicBezTo>
                  <a:pt x="11662392" y="5792797"/>
                  <a:pt x="11633856" y="5783621"/>
                  <a:pt x="11608424" y="5783660"/>
                </a:cubicBezTo>
                <a:cubicBezTo>
                  <a:pt x="11588404" y="5783660"/>
                  <a:pt x="11570285" y="5789247"/>
                  <a:pt x="11557075" y="5793573"/>
                </a:cubicBezTo>
                <a:cubicBezTo>
                  <a:pt x="11550634" y="5795668"/>
                  <a:pt x="11541711" y="5798442"/>
                  <a:pt x="11537889" y="5798403"/>
                </a:cubicBezTo>
                <a:cubicBezTo>
                  <a:pt x="11537538" y="5798409"/>
                  <a:pt x="11537187" y="5798376"/>
                  <a:pt x="11536842" y="5798306"/>
                </a:cubicBezTo>
                <a:cubicBezTo>
                  <a:pt x="11536842" y="5793670"/>
                  <a:pt x="11540275" y="5785813"/>
                  <a:pt x="11546657" y="5777510"/>
                </a:cubicBezTo>
                <a:cubicBezTo>
                  <a:pt x="11554499" y="5767466"/>
                  <a:pt x="11564151" y="5758979"/>
                  <a:pt x="11575116" y="5752486"/>
                </a:cubicBezTo>
                <a:lnTo>
                  <a:pt x="11579597" y="5749789"/>
                </a:lnTo>
                <a:lnTo>
                  <a:pt x="11574456" y="5749517"/>
                </a:lnTo>
                <a:cubicBezTo>
                  <a:pt x="11572187" y="5749343"/>
                  <a:pt x="11569839" y="5749265"/>
                  <a:pt x="11567492" y="5749265"/>
                </a:cubicBezTo>
                <a:cubicBezTo>
                  <a:pt x="11516259" y="5749304"/>
                  <a:pt x="11450419" y="5786376"/>
                  <a:pt x="11401805" y="5811594"/>
                </a:cubicBezTo>
                <a:cubicBezTo>
                  <a:pt x="11371465" y="5827113"/>
                  <a:pt x="11307817" y="5864107"/>
                  <a:pt x="11288670" y="5852720"/>
                </a:cubicBezTo>
                <a:cubicBezTo>
                  <a:pt x="11285470" y="5850780"/>
                  <a:pt x="11283413" y="5848840"/>
                  <a:pt x="11283413" y="5845698"/>
                </a:cubicBezTo>
                <a:cubicBezTo>
                  <a:pt x="11283413" y="5837259"/>
                  <a:pt x="11291425" y="5823757"/>
                  <a:pt x="11306265" y="5808995"/>
                </a:cubicBezTo>
                <a:cubicBezTo>
                  <a:pt x="11350650" y="5764474"/>
                  <a:pt x="11453523" y="5707131"/>
                  <a:pt x="11560082" y="5707189"/>
                </a:cubicBezTo>
                <a:close/>
                <a:moveTo>
                  <a:pt x="11560082" y="5683561"/>
                </a:moveTo>
                <a:cubicBezTo>
                  <a:pt x="11494009" y="5683561"/>
                  <a:pt x="11419594" y="5705268"/>
                  <a:pt x="11355248" y="5743271"/>
                </a:cubicBezTo>
                <a:cubicBezTo>
                  <a:pt x="11326460" y="5760381"/>
                  <a:pt x="11302735" y="5778810"/>
                  <a:pt x="11286090" y="5796502"/>
                </a:cubicBezTo>
                <a:cubicBezTo>
                  <a:pt x="11269446" y="5814194"/>
                  <a:pt x="11259902" y="5831110"/>
                  <a:pt x="11259863" y="5845678"/>
                </a:cubicBezTo>
                <a:cubicBezTo>
                  <a:pt x="11259824" y="5852705"/>
                  <a:pt x="11262663" y="5859442"/>
                  <a:pt x="11267720" y="5864321"/>
                </a:cubicBezTo>
                <a:cubicBezTo>
                  <a:pt x="11277109" y="5873574"/>
                  <a:pt x="11293753" y="5877900"/>
                  <a:pt x="11315014" y="5880131"/>
                </a:cubicBezTo>
                <a:cubicBezTo>
                  <a:pt x="11336276" y="5882362"/>
                  <a:pt x="11362193" y="5882439"/>
                  <a:pt x="11390088" y="5882439"/>
                </a:cubicBezTo>
                <a:lnTo>
                  <a:pt x="11395074" y="5882439"/>
                </a:lnTo>
                <a:cubicBezTo>
                  <a:pt x="11438081" y="5882439"/>
                  <a:pt x="11468460" y="5883603"/>
                  <a:pt x="11487898" y="5886319"/>
                </a:cubicBezTo>
                <a:cubicBezTo>
                  <a:pt x="11497597" y="5887735"/>
                  <a:pt x="11504581" y="5889597"/>
                  <a:pt x="11508907" y="5891789"/>
                </a:cubicBezTo>
                <a:cubicBezTo>
                  <a:pt x="11513233" y="5893982"/>
                  <a:pt x="11514727" y="5896212"/>
                  <a:pt x="11514727" y="5898657"/>
                </a:cubicBezTo>
                <a:cubicBezTo>
                  <a:pt x="11514727" y="5899665"/>
                  <a:pt x="11513621" y="5901935"/>
                  <a:pt x="11510963" y="5904476"/>
                </a:cubicBezTo>
                <a:cubicBezTo>
                  <a:pt x="11501671" y="5913788"/>
                  <a:pt x="11477287" y="5927600"/>
                  <a:pt x="11455346" y="5942789"/>
                </a:cubicBezTo>
                <a:cubicBezTo>
                  <a:pt x="11444887" y="5949732"/>
                  <a:pt x="11435140" y="5957692"/>
                  <a:pt x="11426248" y="5966553"/>
                </a:cubicBezTo>
                <a:cubicBezTo>
                  <a:pt x="11418488" y="5974701"/>
                  <a:pt x="11413309" y="5983042"/>
                  <a:pt x="11413231" y="5991655"/>
                </a:cubicBezTo>
                <a:lnTo>
                  <a:pt x="11413231" y="5992063"/>
                </a:lnTo>
                <a:cubicBezTo>
                  <a:pt x="11413231" y="6003004"/>
                  <a:pt x="11419051" y="6011772"/>
                  <a:pt x="11427936" y="6018542"/>
                </a:cubicBezTo>
                <a:cubicBezTo>
                  <a:pt x="11454609" y="6039008"/>
                  <a:pt x="11509858" y="6044362"/>
                  <a:pt x="11538762" y="6049581"/>
                </a:cubicBezTo>
                <a:cubicBezTo>
                  <a:pt x="11556590" y="6052820"/>
                  <a:pt x="11566037" y="6059164"/>
                  <a:pt x="11571158" y="6066050"/>
                </a:cubicBezTo>
                <a:cubicBezTo>
                  <a:pt x="11575438" y="6072281"/>
                  <a:pt x="11577564" y="6079740"/>
                  <a:pt x="11577211" y="6087292"/>
                </a:cubicBezTo>
                <a:cubicBezTo>
                  <a:pt x="11577211" y="6112065"/>
                  <a:pt x="11568016" y="6133850"/>
                  <a:pt x="11551507" y="6148884"/>
                </a:cubicBezTo>
                <a:cubicBezTo>
                  <a:pt x="11536861" y="6162463"/>
                  <a:pt x="11519169" y="6171076"/>
                  <a:pt x="11493407" y="6171115"/>
                </a:cubicBezTo>
                <a:lnTo>
                  <a:pt x="11490342" y="6171115"/>
                </a:lnTo>
                <a:cubicBezTo>
                  <a:pt x="11490938" y="6166314"/>
                  <a:pt x="11491242" y="6161482"/>
                  <a:pt x="11491254" y="6156644"/>
                </a:cubicBezTo>
                <a:cubicBezTo>
                  <a:pt x="11491196" y="6127797"/>
                  <a:pt x="11479712" y="6103374"/>
                  <a:pt x="11460254" y="6086497"/>
                </a:cubicBezTo>
                <a:cubicBezTo>
                  <a:pt x="11440855" y="6069620"/>
                  <a:pt x="11413425" y="6060114"/>
                  <a:pt x="11381689" y="6060114"/>
                </a:cubicBezTo>
                <a:cubicBezTo>
                  <a:pt x="11342522" y="6060114"/>
                  <a:pt x="11311096" y="6076371"/>
                  <a:pt x="11289563" y="6100484"/>
                </a:cubicBezTo>
                <a:cubicBezTo>
                  <a:pt x="11268236" y="6124633"/>
                  <a:pt x="11256418" y="6155714"/>
                  <a:pt x="11256313" y="6187934"/>
                </a:cubicBezTo>
                <a:cubicBezTo>
                  <a:pt x="11256313" y="6237401"/>
                  <a:pt x="11279146" y="6287102"/>
                  <a:pt x="11323608" y="6324348"/>
                </a:cubicBezTo>
                <a:cubicBezTo>
                  <a:pt x="11368071" y="6361594"/>
                  <a:pt x="11434182" y="6386424"/>
                  <a:pt x="11520760" y="6386424"/>
                </a:cubicBezTo>
                <a:cubicBezTo>
                  <a:pt x="11589374" y="6386424"/>
                  <a:pt x="11658590" y="6363766"/>
                  <a:pt x="11710967" y="6324348"/>
                </a:cubicBezTo>
                <a:cubicBezTo>
                  <a:pt x="11754362" y="6291660"/>
                  <a:pt x="11806216" y="6232086"/>
                  <a:pt x="11806196" y="6134354"/>
                </a:cubicBezTo>
                <a:cubicBezTo>
                  <a:pt x="11806196" y="6044925"/>
                  <a:pt x="11746176" y="6000734"/>
                  <a:pt x="11714556" y="5977475"/>
                </a:cubicBezTo>
                <a:cubicBezTo>
                  <a:pt x="11709149" y="5973692"/>
                  <a:pt x="11703968" y="5969599"/>
                  <a:pt x="11699036" y="5965215"/>
                </a:cubicBezTo>
                <a:cubicBezTo>
                  <a:pt x="11700666" y="5962382"/>
                  <a:pt x="11703576" y="5958018"/>
                  <a:pt x="11706195" y="5954312"/>
                </a:cubicBezTo>
                <a:cubicBezTo>
                  <a:pt x="11721384" y="5932314"/>
                  <a:pt x="11749842" y="5890684"/>
                  <a:pt x="11749842" y="5831284"/>
                </a:cubicBezTo>
                <a:cubicBezTo>
                  <a:pt x="11750048" y="5793639"/>
                  <a:pt x="11734663" y="5757587"/>
                  <a:pt x="11707339" y="5731690"/>
                </a:cubicBezTo>
                <a:cubicBezTo>
                  <a:pt x="11677271" y="5703309"/>
                  <a:pt x="11629743" y="5683561"/>
                  <a:pt x="11560082" y="5683561"/>
                </a:cubicBezTo>
                <a:close/>
                <a:moveTo>
                  <a:pt x="0" y="0"/>
                </a:moveTo>
                <a:lnTo>
                  <a:pt x="5718175" y="0"/>
                </a:lnTo>
                <a:lnTo>
                  <a:pt x="5718175" y="2"/>
                </a:lnTo>
                <a:lnTo>
                  <a:pt x="12192000" y="2"/>
                </a:lnTo>
                <a:lnTo>
                  <a:pt x="12192000" y="6858001"/>
                </a:lnTo>
                <a:lnTo>
                  <a:pt x="5087938" y="6858001"/>
                </a:lnTo>
                <a:lnTo>
                  <a:pt x="5087938" y="6857998"/>
                </a:lnTo>
                <a:lnTo>
                  <a:pt x="0" y="6857998"/>
                </a:lnTo>
                <a:close/>
              </a:path>
            </a:pathLst>
          </a:custGeom>
          <a:noFill/>
        </p:spPr>
      </p:pic>
      <p:sp>
        <p:nvSpPr>
          <p:cNvPr id="9" name="Title 2">
            <a:extLst>
              <a:ext uri="{FF2B5EF4-FFF2-40B4-BE49-F238E27FC236}">
                <a16:creationId xmlns:a16="http://schemas.microsoft.com/office/drawing/2014/main" id="{15F8CE4A-9559-278B-98C1-6B566E7182EF}"/>
              </a:ext>
            </a:extLst>
          </p:cNvPr>
          <p:cNvSpPr>
            <a:spLocks noGrp="1"/>
          </p:cNvSpPr>
          <p:nvPr>
            <p:ph type="title"/>
          </p:nvPr>
        </p:nvSpPr>
        <p:spPr>
          <a:xfrm>
            <a:off x="4025233" y="1434492"/>
            <a:ext cx="4141531" cy="629087"/>
          </a:xfrm>
        </p:spPr>
        <p:txBody>
          <a:bodyPr/>
          <a:lstStyle/>
          <a:p>
            <a:r>
              <a:rPr lang="sv-SE" sz="6400" b="1" dirty="0">
                <a:solidFill>
                  <a:schemeClr val="accent1"/>
                </a:solidFill>
              </a:rPr>
              <a:t>Välkomna!</a:t>
            </a:r>
            <a:br>
              <a:rPr lang="sv-SE" sz="3200" b="1" dirty="0">
                <a:solidFill>
                  <a:schemeClr val="accent1"/>
                </a:solidFill>
              </a:rPr>
            </a:br>
            <a:endParaRPr lang="en-US" dirty="0"/>
          </a:p>
        </p:txBody>
      </p:sp>
    </p:spTree>
    <p:extLst>
      <p:ext uri="{BB962C8B-B14F-4D97-AF65-F5344CB8AC3E}">
        <p14:creationId xmlns:p14="http://schemas.microsoft.com/office/powerpoint/2010/main" val="14433477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964AD4C-847B-7A99-4B2B-4DB90B91E895}"/>
              </a:ext>
            </a:extLst>
          </p:cNvPr>
          <p:cNvSpPr>
            <a:spLocks noGrp="1"/>
          </p:cNvSpPr>
          <p:nvPr>
            <p:ph type="title"/>
          </p:nvPr>
        </p:nvSpPr>
        <p:spPr/>
        <p:txBody>
          <a:bodyPr/>
          <a:lstStyle/>
          <a:p>
            <a:pPr algn="ctr"/>
            <a:r>
              <a:rPr lang="sv-SE" dirty="0"/>
              <a:t>ÅF Mandat Voice</a:t>
            </a:r>
          </a:p>
        </p:txBody>
      </p:sp>
      <p:sp>
        <p:nvSpPr>
          <p:cNvPr id="4" name="Platshållare för innehåll 1">
            <a:extLst>
              <a:ext uri="{FF2B5EF4-FFF2-40B4-BE49-F238E27FC236}">
                <a16:creationId xmlns:a16="http://schemas.microsoft.com/office/drawing/2014/main" id="{98684677-F719-8386-2274-B664146935B8}"/>
              </a:ext>
            </a:extLst>
          </p:cNvPr>
          <p:cNvSpPr>
            <a:spLocks noGrp="1"/>
          </p:cNvSpPr>
          <p:nvPr>
            <p:ph idx="1"/>
          </p:nvPr>
        </p:nvSpPr>
        <p:spPr>
          <a:xfrm>
            <a:off x="6470649" y="2207687"/>
            <a:ext cx="4606925" cy="3971925"/>
          </a:xfrm>
        </p:spPr>
        <p:txBody>
          <a:bodyPr/>
          <a:lstStyle/>
          <a:p>
            <a:r>
              <a:rPr lang="sv-SE" b="1" dirty="0"/>
              <a:t>3Företag Obegränsad Max (449kr obundet)</a:t>
            </a:r>
          </a:p>
          <a:p>
            <a:pPr lvl="1"/>
            <a:r>
              <a:rPr lang="sv-SE" dirty="0"/>
              <a:t>399kr – 24 &amp; 36mån</a:t>
            </a:r>
          </a:p>
          <a:p>
            <a:pPr lvl="1"/>
            <a:r>
              <a:rPr lang="sv-SE" dirty="0"/>
              <a:t>349kr – 24 &amp; 36mån</a:t>
            </a:r>
          </a:p>
          <a:p>
            <a:pPr lvl="1"/>
            <a:r>
              <a:rPr lang="sv-SE" dirty="0"/>
              <a:t>299kr – 24 &amp; 36mån</a:t>
            </a:r>
          </a:p>
          <a:p>
            <a:pPr lvl="1"/>
            <a:r>
              <a:rPr lang="sv-SE" dirty="0"/>
              <a:t>279kr – 36mån</a:t>
            </a:r>
          </a:p>
          <a:p>
            <a:r>
              <a:rPr lang="sv-SE" b="1" dirty="0"/>
              <a:t>3Företag Obegränsad (349kr obundet)</a:t>
            </a:r>
          </a:p>
          <a:p>
            <a:pPr lvl="1"/>
            <a:r>
              <a:rPr lang="sv-SE" dirty="0"/>
              <a:t>299kr – 24 &amp; 36mån</a:t>
            </a:r>
          </a:p>
          <a:p>
            <a:pPr lvl="1"/>
            <a:r>
              <a:rPr lang="sv-SE" dirty="0"/>
              <a:t>249kr – 24 &amp; 36mån</a:t>
            </a:r>
          </a:p>
          <a:p>
            <a:pPr lvl="1"/>
            <a:r>
              <a:rPr lang="sv-SE" dirty="0"/>
              <a:t>209kr – 24 &amp; 36mån</a:t>
            </a:r>
          </a:p>
          <a:p>
            <a:pPr lvl="1"/>
            <a:r>
              <a:rPr lang="sv-SE" dirty="0"/>
              <a:t>199kr – 36mån </a:t>
            </a:r>
          </a:p>
          <a:p>
            <a:pPr marL="354013" lvl="1" indent="0">
              <a:buNone/>
            </a:pPr>
            <a:endParaRPr lang="sv-SE" dirty="0"/>
          </a:p>
        </p:txBody>
      </p:sp>
      <p:sp>
        <p:nvSpPr>
          <p:cNvPr id="7" name="Platshållare för innehåll 1">
            <a:extLst>
              <a:ext uri="{FF2B5EF4-FFF2-40B4-BE49-F238E27FC236}">
                <a16:creationId xmlns:a16="http://schemas.microsoft.com/office/drawing/2014/main" id="{0749B0F5-130F-E799-1D5E-947EB51F27E1}"/>
              </a:ext>
            </a:extLst>
          </p:cNvPr>
          <p:cNvSpPr txBox="1">
            <a:spLocks/>
          </p:cNvSpPr>
          <p:nvPr/>
        </p:nvSpPr>
        <p:spPr>
          <a:xfrm>
            <a:off x="803276" y="2207688"/>
            <a:ext cx="4606925" cy="3971925"/>
          </a:xfrm>
          <a:prstGeom prst="rect">
            <a:avLst/>
          </a:prstGeom>
        </p:spPr>
        <p:txBody>
          <a:bodyPr vert="horz" lIns="0" tIns="0" rIns="0" bIns="0" rtlCol="0">
            <a:noAutofit/>
          </a:bodyPr>
          <a:lstStyle>
            <a:lvl1pPr marL="266700" indent="-266700" algn="l" defTabSz="914400" rtl="0" eaLnBrk="1" latinLnBrk="0" hangingPunct="1">
              <a:lnSpc>
                <a:spcPct val="90000"/>
              </a:lnSpc>
              <a:spcBef>
                <a:spcPts val="600"/>
              </a:spcBef>
              <a:spcAft>
                <a:spcPts val="600"/>
              </a:spcAft>
              <a:buClr>
                <a:schemeClr val="accent1"/>
              </a:buClr>
              <a:buSzPct val="105000"/>
              <a:buFont typeface="HelveticaNeueLT Std" panose="020B0604020202020204" pitchFamily="34" charset="0"/>
              <a:buChar char="•"/>
              <a:defRPr sz="1600" kern="1200">
                <a:solidFill>
                  <a:schemeClr val="tx1"/>
                </a:solidFill>
                <a:latin typeface="+mn-lt"/>
                <a:ea typeface="+mn-ea"/>
                <a:cs typeface="+mn-cs"/>
              </a:defRPr>
            </a:lvl1pPr>
            <a:lvl2pPr marL="538163"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400" kern="1200">
                <a:solidFill>
                  <a:schemeClr val="tx1"/>
                </a:solidFill>
                <a:latin typeface="+mn-lt"/>
                <a:ea typeface="+mn-ea"/>
                <a:cs typeface="+mn-cs"/>
              </a:defRPr>
            </a:lvl2pPr>
            <a:lvl3pPr marL="715963"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200" kern="1200">
                <a:solidFill>
                  <a:schemeClr val="tx1"/>
                </a:solidFill>
                <a:latin typeface="+mn-lt"/>
                <a:ea typeface="+mn-ea"/>
                <a:cs typeface="+mn-cs"/>
              </a:defRPr>
            </a:lvl3pPr>
            <a:lvl4pPr marL="898525" indent="-18256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4pPr>
            <a:lvl5pPr marL="107632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5pPr>
            <a:lvl6pPr marL="1254125"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6pPr>
            <a:lvl7pPr marL="14382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7pPr>
            <a:lvl8pPr marL="16160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8pPr>
            <a:lvl9pPr marL="1793875" indent="-180975"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9pPr>
          </a:lstStyle>
          <a:p>
            <a:r>
              <a:rPr lang="sv-SE" b="1" dirty="0"/>
              <a:t>3Företag 15GB (249kr Obundet)</a:t>
            </a:r>
          </a:p>
          <a:p>
            <a:pPr lvl="1"/>
            <a:r>
              <a:rPr lang="sv-SE" dirty="0"/>
              <a:t>199kr – 24 &amp; 36mån</a:t>
            </a:r>
          </a:p>
          <a:p>
            <a:pPr lvl="1"/>
            <a:r>
              <a:rPr lang="sv-SE" dirty="0"/>
              <a:t>179kr – 24 &amp; 36mån</a:t>
            </a:r>
          </a:p>
          <a:p>
            <a:pPr lvl="1"/>
            <a:r>
              <a:rPr lang="sv-SE" dirty="0"/>
              <a:t>159kr – 24 &amp; 36mån</a:t>
            </a:r>
          </a:p>
          <a:p>
            <a:r>
              <a:rPr lang="sv-SE" b="1" dirty="0"/>
              <a:t>3Företag 6GB (199kr Obundet)</a:t>
            </a:r>
          </a:p>
          <a:p>
            <a:pPr lvl="1"/>
            <a:r>
              <a:rPr lang="sv-SE" dirty="0"/>
              <a:t>149kr – 24 &amp; 36mån</a:t>
            </a:r>
          </a:p>
          <a:p>
            <a:pPr lvl="1"/>
            <a:r>
              <a:rPr lang="sv-SE" dirty="0"/>
              <a:t>129kr – 24 &amp; 36mån</a:t>
            </a:r>
          </a:p>
          <a:p>
            <a:pPr lvl="1"/>
            <a:r>
              <a:rPr lang="sv-SE" dirty="0"/>
              <a:t>109kr – 24 &amp; 36mån</a:t>
            </a:r>
          </a:p>
          <a:p>
            <a:pPr marL="354013" lvl="1" indent="0">
              <a:buNone/>
            </a:pPr>
            <a:endParaRPr lang="sv-SE" dirty="0"/>
          </a:p>
          <a:p>
            <a:pPr marL="368300" indent="-285750"/>
            <a:r>
              <a:rPr lang="sv-SE" b="1" dirty="0"/>
              <a:t>3Företag 1GB (149kr Obundet)</a:t>
            </a:r>
          </a:p>
          <a:p>
            <a:pPr marL="639763" lvl="1" indent="-285750"/>
            <a:r>
              <a:rPr lang="sv-SE" dirty="0"/>
              <a:t>99kr – 24 &amp; 36mån</a:t>
            </a:r>
          </a:p>
          <a:p>
            <a:pPr marL="639763" lvl="1" indent="-285750"/>
            <a:r>
              <a:rPr lang="sv-SE" dirty="0"/>
              <a:t>89kr – 24 &amp; 36mån</a:t>
            </a:r>
          </a:p>
          <a:p>
            <a:pPr marL="354013" lvl="1" indent="0">
              <a:buNone/>
            </a:pPr>
            <a:endParaRPr lang="sv-SE" dirty="0"/>
          </a:p>
          <a:p>
            <a:pPr marL="354013" lvl="1" indent="0">
              <a:buFont typeface="HelveticaNeueLT Std" panose="020B0604020202020204" pitchFamily="34" charset="0"/>
              <a:buNone/>
            </a:pPr>
            <a:endParaRPr lang="sv-SE" dirty="0"/>
          </a:p>
        </p:txBody>
      </p:sp>
    </p:spTree>
    <p:extLst>
      <p:ext uri="{BB962C8B-B14F-4D97-AF65-F5344CB8AC3E}">
        <p14:creationId xmlns:p14="http://schemas.microsoft.com/office/powerpoint/2010/main" val="227657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uiExpand="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A948B6-E40B-721C-DAF5-B97A0CCC4714}"/>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CEA948B6-E40B-721C-DAF5-B97A0CCC4714}"/>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3">
            <a:extLst>
              <a:ext uri="{FF2B5EF4-FFF2-40B4-BE49-F238E27FC236}">
                <a16:creationId xmlns:a16="http://schemas.microsoft.com/office/drawing/2014/main" id="{1B303681-43E2-A73A-DB54-7CDB908799BE}"/>
              </a:ext>
            </a:extLst>
          </p:cNvPr>
          <p:cNvSpPr txBox="1">
            <a:spLocks noGrp="1"/>
          </p:cNvSpPr>
          <p:nvPr>
            <p:ph type="title"/>
          </p:nvPr>
        </p:nvSpPr>
        <p:spPr>
          <a:xfrm>
            <a:off x="838203" y="1412876"/>
            <a:ext cx="10515600" cy="2160590"/>
          </a:xfrm>
          <a:prstGeom prst="rect">
            <a:avLst/>
          </a:prstGeom>
          <a:noFill/>
          <a:ln>
            <a:noFill/>
          </a:ln>
        </p:spPr>
        <p:txBody>
          <a:bodyPr vert="horz" wrap="square" lIns="0" tIns="0" rIns="0" bIns="0" anchor="b" anchorCtr="1" compatLnSpc="1">
            <a:noAutofit/>
          </a:bodyPr>
          <a:lstStyle/>
          <a:p>
            <a:pPr lvl="0" algn="ctr"/>
            <a:r>
              <a:rPr lang="sv-SE" sz="4000" dirty="0">
                <a:solidFill>
                  <a:srgbClr val="FFFFFF"/>
                </a:solidFill>
              </a:rPr>
              <a:t>Ramavtalsportföljen – Voice</a:t>
            </a:r>
          </a:p>
        </p:txBody>
      </p:sp>
      <p:sp>
        <p:nvSpPr>
          <p:cNvPr id="4" name="Text Placeholder 4">
            <a:extLst>
              <a:ext uri="{FF2B5EF4-FFF2-40B4-BE49-F238E27FC236}">
                <a16:creationId xmlns:a16="http://schemas.microsoft.com/office/drawing/2014/main" id="{06B394D6-97C9-E5ED-5A6D-3542E093E9DF}"/>
              </a:ext>
            </a:extLst>
          </p:cNvPr>
          <p:cNvSpPr txBox="1">
            <a:spLocks noGrp="1"/>
          </p:cNvSpPr>
          <p:nvPr>
            <p:ph type="body" idx="1"/>
          </p:nvPr>
        </p:nvSpPr>
        <p:spPr>
          <a:xfrm>
            <a:off x="838203" y="3752853"/>
            <a:ext cx="10515600" cy="1692270"/>
          </a:xfrm>
          <a:prstGeom prst="rect">
            <a:avLst/>
          </a:prstGeom>
          <a:noFill/>
          <a:ln>
            <a:noFill/>
          </a:ln>
        </p:spPr>
        <p:txBody>
          <a:bodyPr vert="horz" wrap="square" lIns="0" tIns="0" rIns="0" bIns="0" anchor="t" anchorCtr="1" compatLnSpc="1">
            <a:noAutofit/>
          </a:bodyPr>
          <a:lstStyle/>
          <a:p>
            <a:pPr lvl="8">
              <a:buFont typeface="Wingdings" panose="020B0604020202020204" pitchFamily="34" charset="0"/>
              <a:buChar char="§"/>
            </a:pPr>
            <a:endParaRPr lang="sv-SE"/>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552F9E-5233-B277-0289-027FEEF44382}"/>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89552F9E-5233-B277-0289-027FEEF44382}"/>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DBEE0293-F304-4C9E-24FA-DB3ACBB26384}"/>
              </a:ext>
            </a:extLst>
          </p:cNvPr>
          <p:cNvSpPr txBox="1">
            <a:spLocks noGrp="1"/>
          </p:cNvSpPr>
          <p:nvPr>
            <p:ph type="title"/>
          </p:nvPr>
        </p:nvSpPr>
        <p:spPr>
          <a:xfrm>
            <a:off x="803272" y="272427"/>
            <a:ext cx="10585451" cy="900107"/>
          </a:xfrm>
          <a:prstGeom prst="rect">
            <a:avLst/>
          </a:prstGeom>
          <a:noFill/>
          <a:ln>
            <a:noFill/>
          </a:ln>
        </p:spPr>
        <p:txBody>
          <a:bodyPr vert="horz" wrap="square" lIns="0" tIns="0" rIns="0" bIns="0" anchor="t" anchorCtr="0" compatLnSpc="1">
            <a:noAutofit/>
          </a:bodyPr>
          <a:lstStyle/>
          <a:p>
            <a:pPr lvl="0"/>
            <a:r>
              <a:rPr lang="sv-SE" dirty="0"/>
              <a:t>Det blir mindre förändringar i ramavtalsportföljen</a:t>
            </a:r>
            <a:br>
              <a:rPr lang="sv-SE" dirty="0"/>
            </a:br>
            <a:endParaRPr lang="sv-SE" dirty="0"/>
          </a:p>
        </p:txBody>
      </p:sp>
      <p:sp>
        <p:nvSpPr>
          <p:cNvPr id="4" name="TextBox 4">
            <a:extLst>
              <a:ext uri="{FF2B5EF4-FFF2-40B4-BE49-F238E27FC236}">
                <a16:creationId xmlns:a16="http://schemas.microsoft.com/office/drawing/2014/main" id="{5D94B8BC-A4BF-AB64-DE22-625B6C488FDC}"/>
              </a:ext>
            </a:extLst>
          </p:cNvPr>
          <p:cNvSpPr txBox="1"/>
          <p:nvPr/>
        </p:nvSpPr>
        <p:spPr>
          <a:xfrm>
            <a:off x="59362" y="2111514"/>
            <a:ext cx="1683821" cy="307777"/>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0" i="0" u="none" strike="noStrike" kern="1200" cap="none" spc="0" baseline="0">
                <a:solidFill>
                  <a:srgbClr val="000000"/>
                </a:solidFill>
                <a:uFillTx/>
                <a:latin typeface="Helvetica Neue LT Std"/>
              </a:rPr>
              <a:t>Befintlig portfölj</a:t>
            </a:r>
          </a:p>
        </p:txBody>
      </p:sp>
      <p:sp>
        <p:nvSpPr>
          <p:cNvPr id="5" name="Rectangle 5">
            <a:extLst>
              <a:ext uri="{FF2B5EF4-FFF2-40B4-BE49-F238E27FC236}">
                <a16:creationId xmlns:a16="http://schemas.microsoft.com/office/drawing/2014/main" id="{630BEDF7-22C8-7B83-818B-9B89D544ED32}"/>
              </a:ext>
            </a:extLst>
          </p:cNvPr>
          <p:cNvSpPr/>
          <p:nvPr/>
        </p:nvSpPr>
        <p:spPr>
          <a:xfrm>
            <a:off x="1640890" y="2073520"/>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inkl. 3Världen</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249kr 1000 Mbit/s</a:t>
            </a:r>
          </a:p>
        </p:txBody>
      </p:sp>
      <p:pic>
        <p:nvPicPr>
          <p:cNvPr id="6" name="Graphic 6" descr="Earth globe: Africa and Europe with solid fill">
            <a:extLst>
              <a:ext uri="{FF2B5EF4-FFF2-40B4-BE49-F238E27FC236}">
                <a16:creationId xmlns:a16="http://schemas.microsoft.com/office/drawing/2014/main" id="{EB5561BE-44A4-92B5-AF36-C8A4926850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7537" y="1977527"/>
            <a:ext cx="291684" cy="252648"/>
          </a:xfrm>
          <a:prstGeom prst="rect">
            <a:avLst/>
          </a:prstGeom>
          <a:noFill/>
          <a:ln>
            <a:noFill/>
          </a:ln>
        </p:spPr>
      </p:pic>
      <p:sp>
        <p:nvSpPr>
          <p:cNvPr id="7" name="Rectangle 7">
            <a:extLst>
              <a:ext uri="{FF2B5EF4-FFF2-40B4-BE49-F238E27FC236}">
                <a16:creationId xmlns:a16="http://schemas.microsoft.com/office/drawing/2014/main" id="{F5768758-E715-6CED-E09F-6ACD502F32D8}"/>
              </a:ext>
            </a:extLst>
          </p:cNvPr>
          <p:cNvSpPr/>
          <p:nvPr/>
        </p:nvSpPr>
        <p:spPr>
          <a:xfrm>
            <a:off x="6584987" y="2087182"/>
            <a:ext cx="1439997" cy="437961"/>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6GB Avtal </a:t>
            </a:r>
            <a:r>
              <a:rPr lang="sv-SE" sz="1000" b="0" i="0" u="none" strike="noStrike" kern="1200" cap="none" spc="0" baseline="0">
                <a:solidFill>
                  <a:srgbClr val="000000"/>
                </a:solidFill>
                <a:uFillTx/>
                <a:latin typeface="HelveticaNeueLT Std"/>
              </a:rPr>
              <a:t>14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100Mbit/s</a:t>
            </a:r>
          </a:p>
        </p:txBody>
      </p:sp>
      <p:sp>
        <p:nvSpPr>
          <p:cNvPr id="8" name="Rectangle 8">
            <a:extLst>
              <a:ext uri="{FF2B5EF4-FFF2-40B4-BE49-F238E27FC236}">
                <a16:creationId xmlns:a16="http://schemas.microsoft.com/office/drawing/2014/main" id="{C7808A84-B3CE-AD88-5E3B-1A2077C2CA70}"/>
              </a:ext>
            </a:extLst>
          </p:cNvPr>
          <p:cNvSpPr/>
          <p:nvPr/>
        </p:nvSpPr>
        <p:spPr>
          <a:xfrm>
            <a:off x="9881061" y="2087182"/>
            <a:ext cx="1439997" cy="437961"/>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Rörligt Avtal </a:t>
            </a:r>
            <a:r>
              <a:rPr lang="sv-SE" sz="1000" b="0" i="0" u="none" strike="noStrike" kern="1200" cap="none" spc="0" baseline="0">
                <a:solidFill>
                  <a:srgbClr val="000000"/>
                </a:solidFill>
                <a:uFillTx/>
                <a:latin typeface="HelveticaNeueLT Std"/>
              </a:rPr>
              <a:t>7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50Mbit/s</a:t>
            </a:r>
          </a:p>
        </p:txBody>
      </p:sp>
      <p:sp>
        <p:nvSpPr>
          <p:cNvPr id="9" name="Rectangle 9">
            <a:extLst>
              <a:ext uri="{FF2B5EF4-FFF2-40B4-BE49-F238E27FC236}">
                <a16:creationId xmlns:a16="http://schemas.microsoft.com/office/drawing/2014/main" id="{43FA3FE3-00CA-0BA9-C364-43B378A8C21F}"/>
              </a:ext>
            </a:extLst>
          </p:cNvPr>
          <p:cNvSpPr/>
          <p:nvPr/>
        </p:nvSpPr>
        <p:spPr>
          <a:xfrm>
            <a:off x="3288923" y="2079400"/>
            <a:ext cx="1439997" cy="437961"/>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50GB Avtal </a:t>
            </a:r>
            <a:r>
              <a:rPr lang="sv-SE" sz="1000" b="0" i="0" u="none" strike="noStrike" kern="1200" cap="none" spc="0" baseline="0">
                <a:solidFill>
                  <a:srgbClr val="000000"/>
                </a:solidFill>
                <a:uFillTx/>
                <a:latin typeface="HelveticaNeueLT Std"/>
              </a:rPr>
              <a:t>19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100Mbit/s</a:t>
            </a:r>
          </a:p>
        </p:txBody>
      </p:sp>
      <p:sp>
        <p:nvSpPr>
          <p:cNvPr id="10" name="Isosceles Triangle 10">
            <a:extLst>
              <a:ext uri="{FF2B5EF4-FFF2-40B4-BE49-F238E27FC236}">
                <a16:creationId xmlns:a16="http://schemas.microsoft.com/office/drawing/2014/main" id="{C0F840B0-C0E5-BFAB-3EA3-72E08247F004}"/>
              </a:ext>
            </a:extLst>
          </p:cNvPr>
          <p:cNvSpPr/>
          <p:nvPr/>
        </p:nvSpPr>
        <p:spPr>
          <a:xfrm rot="10799991">
            <a:off x="3964747" y="3130667"/>
            <a:ext cx="4710202" cy="364726"/>
          </a:xfrm>
          <a:custGeom>
            <a:avLst>
              <a:gd name="f8" fmla="val 50000"/>
            </a:avLst>
            <a:gdLst>
              <a:gd name="f1" fmla="val 10800000"/>
              <a:gd name="f2" fmla="val 5400000"/>
              <a:gd name="f3" fmla="val 180"/>
              <a:gd name="f4" fmla="val w"/>
              <a:gd name="f5" fmla="val h"/>
              <a:gd name="f6" fmla="val ss"/>
              <a:gd name="f7" fmla="val 0"/>
              <a:gd name="f8" fmla="val 50000"/>
              <a:gd name="f9" fmla="+- 0 0 -360"/>
              <a:gd name="f10" fmla="+- 0 0 -270"/>
              <a:gd name="f11" fmla="+- 0 0 -180"/>
              <a:gd name="f12" fmla="+- 0 0 -90"/>
              <a:gd name="f13" fmla="abs f4"/>
              <a:gd name="f14" fmla="abs f5"/>
              <a:gd name="f15" fmla="abs f6"/>
              <a:gd name="f16" fmla="val f7"/>
              <a:gd name="f17" fmla="val f8"/>
              <a:gd name="f18" fmla="*/ f9 f1 1"/>
              <a:gd name="f19" fmla="*/ f10 f1 1"/>
              <a:gd name="f20" fmla="*/ f11 f1 1"/>
              <a:gd name="f21" fmla="*/ f12 f1 1"/>
              <a:gd name="f22" fmla="?: f13 f4 1"/>
              <a:gd name="f23" fmla="?: f14 f5 1"/>
              <a:gd name="f24" fmla="?: f15 f6 1"/>
              <a:gd name="f25" fmla="*/ f18 1 f3"/>
              <a:gd name="f26" fmla="*/ f19 1 f3"/>
              <a:gd name="f27" fmla="*/ f20 1 f3"/>
              <a:gd name="f28" fmla="*/ f21 1 f3"/>
              <a:gd name="f29" fmla="*/ f22 1 21600"/>
              <a:gd name="f30" fmla="*/ f23 1 21600"/>
              <a:gd name="f31" fmla="*/ 21600 f22 1"/>
              <a:gd name="f32" fmla="*/ 21600 f23 1"/>
              <a:gd name="f33" fmla="+- f25 0 f2"/>
              <a:gd name="f34" fmla="+- f26 0 f2"/>
              <a:gd name="f35" fmla="+- f27 0 f2"/>
              <a:gd name="f36" fmla="+- f28 0 f2"/>
              <a:gd name="f37" fmla="min f30 f29"/>
              <a:gd name="f38" fmla="*/ f31 1 f24"/>
              <a:gd name="f39" fmla="*/ f32 1 f24"/>
              <a:gd name="f40" fmla="val f38"/>
              <a:gd name="f41" fmla="val f39"/>
              <a:gd name="f42" fmla="*/ f16 f37 1"/>
              <a:gd name="f43" fmla="+- f41 0 f16"/>
              <a:gd name="f44" fmla="+- f40 0 f16"/>
              <a:gd name="f45" fmla="*/ f41 f37 1"/>
              <a:gd name="f46" fmla="*/ f40 f37 1"/>
              <a:gd name="f47" fmla="*/ f43 1 2"/>
              <a:gd name="f48" fmla="*/ f44 1 2"/>
              <a:gd name="f49" fmla="*/ f44 f17 1"/>
              <a:gd name="f50" fmla="+- f16 f47 0"/>
              <a:gd name="f51" fmla="*/ f49 1 200000"/>
              <a:gd name="f52" fmla="*/ f49 1 100000"/>
              <a:gd name="f53" fmla="+- f51 f48 0"/>
              <a:gd name="f54" fmla="*/ f51 f37 1"/>
              <a:gd name="f55" fmla="*/ f50 f37 1"/>
              <a:gd name="f56" fmla="*/ f52 f37 1"/>
              <a:gd name="f57" fmla="*/ f53 f37 1"/>
            </a:gdLst>
            <a:ahLst/>
            <a:cxnLst>
              <a:cxn ang="3cd4">
                <a:pos x="hc" y="t"/>
              </a:cxn>
              <a:cxn ang="0">
                <a:pos x="r" y="vc"/>
              </a:cxn>
              <a:cxn ang="cd4">
                <a:pos x="hc" y="b"/>
              </a:cxn>
              <a:cxn ang="cd2">
                <a:pos x="l" y="vc"/>
              </a:cxn>
              <a:cxn ang="f33">
                <a:pos x="f56" y="f42"/>
              </a:cxn>
              <a:cxn ang="f34">
                <a:pos x="f54" y="f55"/>
              </a:cxn>
              <a:cxn ang="f35">
                <a:pos x="f42" y="f45"/>
              </a:cxn>
              <a:cxn ang="f35">
                <a:pos x="f56" y="f45"/>
              </a:cxn>
              <a:cxn ang="f35">
                <a:pos x="f46" y="f45"/>
              </a:cxn>
              <a:cxn ang="f36">
                <a:pos x="f57" y="f55"/>
              </a:cxn>
            </a:cxnLst>
            <a:rect l="f54" t="f55" r="f57" b="f45"/>
            <a:pathLst>
              <a:path>
                <a:moveTo>
                  <a:pt x="f42" y="f45"/>
                </a:moveTo>
                <a:lnTo>
                  <a:pt x="f56" y="f42"/>
                </a:lnTo>
                <a:lnTo>
                  <a:pt x="f46" y="f45"/>
                </a:lnTo>
                <a:close/>
              </a:path>
            </a:pathLst>
          </a:custGeom>
          <a:solidFill>
            <a:srgbClr val="DADADA"/>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sv-SE" sz="1800" b="0" i="0" u="none" strike="noStrike" kern="1200" cap="none" spc="0" baseline="0">
              <a:solidFill>
                <a:srgbClr val="FFFFFF"/>
              </a:solidFill>
              <a:uFillTx/>
              <a:latin typeface="Helvetica Neue LT Std"/>
            </a:endParaRPr>
          </a:p>
        </p:txBody>
      </p:sp>
      <p:sp>
        <p:nvSpPr>
          <p:cNvPr id="11" name="Rectangle 11">
            <a:extLst>
              <a:ext uri="{FF2B5EF4-FFF2-40B4-BE49-F238E27FC236}">
                <a16:creationId xmlns:a16="http://schemas.microsoft.com/office/drawing/2014/main" id="{386BCAD7-2CF3-9854-E448-EFEC443BB11D}"/>
              </a:ext>
            </a:extLst>
          </p:cNvPr>
          <p:cNvSpPr/>
          <p:nvPr/>
        </p:nvSpPr>
        <p:spPr>
          <a:xfrm>
            <a:off x="1640890" y="4282638"/>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Obegränsad RAM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249kr 1000Mbit/s</a:t>
            </a:r>
          </a:p>
        </p:txBody>
      </p:sp>
      <p:sp>
        <p:nvSpPr>
          <p:cNvPr id="12" name="Rectangle 12">
            <a:extLst>
              <a:ext uri="{FF2B5EF4-FFF2-40B4-BE49-F238E27FC236}">
                <a16:creationId xmlns:a16="http://schemas.microsoft.com/office/drawing/2014/main" id="{F2BD8DD9-2A74-D3B0-7624-14C153EBF544}"/>
              </a:ext>
            </a:extLst>
          </p:cNvPr>
          <p:cNvSpPr/>
          <p:nvPr/>
        </p:nvSpPr>
        <p:spPr>
          <a:xfrm>
            <a:off x="3288923" y="4272232"/>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50GB RAM </a:t>
            </a:r>
            <a:r>
              <a:rPr lang="sv-SE" sz="1000" b="0" i="0" u="none" strike="noStrike" kern="1200" cap="none" spc="0" baseline="0">
                <a:solidFill>
                  <a:srgbClr val="000000"/>
                </a:solidFill>
                <a:uFillTx/>
                <a:latin typeface="HelveticaNeueLT Std"/>
              </a:rPr>
              <a:t>19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100Mbit/s</a:t>
            </a:r>
          </a:p>
        </p:txBody>
      </p:sp>
      <p:sp>
        <p:nvSpPr>
          <p:cNvPr id="13" name="Rectangle 13">
            <a:extLst>
              <a:ext uri="{FF2B5EF4-FFF2-40B4-BE49-F238E27FC236}">
                <a16:creationId xmlns:a16="http://schemas.microsoft.com/office/drawing/2014/main" id="{F07DDDC6-4F97-0EC8-9EB8-6DB1C0EEB94D}"/>
              </a:ext>
            </a:extLst>
          </p:cNvPr>
          <p:cNvSpPr/>
          <p:nvPr/>
        </p:nvSpPr>
        <p:spPr>
          <a:xfrm>
            <a:off x="4936955" y="4282638"/>
            <a:ext cx="1439997" cy="442386"/>
          </a:xfrm>
          <a:prstGeom prst="rect">
            <a:avLst/>
          </a:prstGeom>
          <a:solidFill>
            <a:srgbClr val="FF9D66"/>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15GB RAM </a:t>
            </a:r>
            <a:r>
              <a:rPr lang="sv-SE" sz="1000" b="0" i="0" u="none" strike="noStrike" kern="1200" cap="none" spc="0" baseline="0">
                <a:solidFill>
                  <a:srgbClr val="000000"/>
                </a:solidFill>
                <a:uFillTx/>
                <a:latin typeface="HelveticaNeueLT Std"/>
              </a:rPr>
              <a:t>16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100Mbit/s</a:t>
            </a:r>
          </a:p>
        </p:txBody>
      </p:sp>
      <p:sp>
        <p:nvSpPr>
          <p:cNvPr id="14" name="Rectangle 14">
            <a:extLst>
              <a:ext uri="{FF2B5EF4-FFF2-40B4-BE49-F238E27FC236}">
                <a16:creationId xmlns:a16="http://schemas.microsoft.com/office/drawing/2014/main" id="{C5969114-86E1-C4EF-0895-51CB43FDF2C3}"/>
              </a:ext>
            </a:extLst>
          </p:cNvPr>
          <p:cNvSpPr/>
          <p:nvPr/>
        </p:nvSpPr>
        <p:spPr>
          <a:xfrm>
            <a:off x="6584987" y="4282638"/>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6GB RAM </a:t>
            </a:r>
            <a:r>
              <a:rPr lang="sv-SE" sz="1000" b="0" i="0" u="none" strike="noStrike" kern="1200" cap="none" spc="0" baseline="0">
                <a:solidFill>
                  <a:srgbClr val="000000"/>
                </a:solidFill>
                <a:uFillTx/>
                <a:latin typeface="HelveticaNeueLT Std"/>
              </a:rPr>
              <a:t>14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100Mbit/s</a:t>
            </a:r>
          </a:p>
        </p:txBody>
      </p:sp>
      <p:sp>
        <p:nvSpPr>
          <p:cNvPr id="15" name="Rectangle 15">
            <a:extLst>
              <a:ext uri="{FF2B5EF4-FFF2-40B4-BE49-F238E27FC236}">
                <a16:creationId xmlns:a16="http://schemas.microsoft.com/office/drawing/2014/main" id="{8842C2FC-531D-30C2-2B5C-59C7D9B1FA0C}"/>
              </a:ext>
            </a:extLst>
          </p:cNvPr>
          <p:cNvSpPr/>
          <p:nvPr/>
        </p:nvSpPr>
        <p:spPr>
          <a:xfrm>
            <a:off x="8233029" y="4272232"/>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1GB RAM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9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50Mbit/s</a:t>
            </a:r>
          </a:p>
        </p:txBody>
      </p:sp>
      <p:pic>
        <p:nvPicPr>
          <p:cNvPr id="16" name="Graphic 16" descr="Earth globe: Africa and Europe with solid fill">
            <a:extLst>
              <a:ext uri="{FF2B5EF4-FFF2-40B4-BE49-F238E27FC236}">
                <a16:creationId xmlns:a16="http://schemas.microsoft.com/office/drawing/2014/main" id="{2DB99A15-C62D-0967-8D85-14FE145E82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7537" y="4141774"/>
            <a:ext cx="291684" cy="252648"/>
          </a:xfrm>
          <a:prstGeom prst="rect">
            <a:avLst/>
          </a:prstGeom>
          <a:noFill/>
          <a:ln>
            <a:noFill/>
          </a:ln>
        </p:spPr>
      </p:pic>
      <p:sp>
        <p:nvSpPr>
          <p:cNvPr id="17" name="TextBox 17">
            <a:extLst>
              <a:ext uri="{FF2B5EF4-FFF2-40B4-BE49-F238E27FC236}">
                <a16:creationId xmlns:a16="http://schemas.microsoft.com/office/drawing/2014/main" id="{34652100-6C1B-F974-391E-F44BF1C3D977}"/>
              </a:ext>
            </a:extLst>
          </p:cNvPr>
          <p:cNvSpPr txBox="1"/>
          <p:nvPr/>
        </p:nvSpPr>
        <p:spPr>
          <a:xfrm>
            <a:off x="285512" y="4382106"/>
            <a:ext cx="1683821" cy="307777"/>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0" i="0" u="none" strike="noStrike" kern="1200" cap="none" spc="0" baseline="0">
                <a:solidFill>
                  <a:srgbClr val="000000"/>
                </a:solidFill>
                <a:uFillTx/>
                <a:latin typeface="Helvetica Neue LT Std"/>
              </a:rPr>
              <a:t>”Ny” portfölj</a:t>
            </a:r>
          </a:p>
        </p:txBody>
      </p:sp>
      <p:sp>
        <p:nvSpPr>
          <p:cNvPr id="18" name="Rectangle 18">
            <a:extLst>
              <a:ext uri="{FF2B5EF4-FFF2-40B4-BE49-F238E27FC236}">
                <a16:creationId xmlns:a16="http://schemas.microsoft.com/office/drawing/2014/main" id="{39D6AF5E-CA74-5FF8-6E8F-F6F8B3302DA2}"/>
              </a:ext>
            </a:extLst>
          </p:cNvPr>
          <p:cNvSpPr/>
          <p:nvPr/>
        </p:nvSpPr>
        <p:spPr>
          <a:xfrm>
            <a:off x="8233029" y="2091059"/>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1GB Avtal </a:t>
            </a:r>
            <a:r>
              <a:rPr lang="sv-SE" sz="1000" b="0" i="0" u="none" strike="noStrike" kern="1200" cap="none" spc="0" baseline="0">
                <a:solidFill>
                  <a:srgbClr val="000000"/>
                </a:solidFill>
                <a:uFillTx/>
                <a:latin typeface="HelveticaNeueLT Std"/>
              </a:rPr>
              <a:t>9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50Mbit/s</a:t>
            </a:r>
          </a:p>
        </p:txBody>
      </p:sp>
      <p:sp>
        <p:nvSpPr>
          <p:cNvPr id="19" name="Rectangle: Rounded Corners 19">
            <a:extLst>
              <a:ext uri="{FF2B5EF4-FFF2-40B4-BE49-F238E27FC236}">
                <a16:creationId xmlns:a16="http://schemas.microsoft.com/office/drawing/2014/main" id="{44203DA4-FDB1-EC0D-89E0-49663749B02F}"/>
              </a:ext>
            </a:extLst>
          </p:cNvPr>
          <p:cNvSpPr/>
          <p:nvPr/>
        </p:nvSpPr>
        <p:spPr>
          <a:xfrm>
            <a:off x="2363559" y="4935794"/>
            <a:ext cx="8337142" cy="1384081"/>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ADADA"/>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dirty="0">
                <a:solidFill>
                  <a:srgbClr val="000000"/>
                </a:solidFill>
                <a:uFillTx/>
                <a:latin typeface="Helvetica Neue LT Std"/>
              </a:rPr>
              <a:t>Förändringarna som sker är:</a:t>
            </a:r>
          </a:p>
          <a:p>
            <a:pPr marL="285750" marR="0" lvl="0" indent="-285750" algn="ctr" defTabSz="914400" rtl="0" fontAlgn="auto" hangingPunct="1">
              <a:lnSpc>
                <a:spcPct val="100000"/>
              </a:lnSpc>
              <a:spcBef>
                <a:spcPts val="0"/>
              </a:spcBef>
              <a:spcAft>
                <a:spcPts val="0"/>
              </a:spcAft>
              <a:buSzPct val="100000"/>
              <a:buChar char="-"/>
              <a:tabLst/>
              <a:defRPr sz="1800" b="0" i="0" u="none" strike="noStrike" kern="0" cap="none" spc="0" baseline="0">
                <a:solidFill>
                  <a:srgbClr val="000000"/>
                </a:solidFill>
                <a:uFillTx/>
              </a:defRPr>
            </a:pPr>
            <a:r>
              <a:rPr lang="sv-SE" sz="1400" b="0" i="0" u="none" strike="noStrike" kern="1200" cap="none" spc="0" baseline="0" dirty="0">
                <a:solidFill>
                  <a:srgbClr val="000000"/>
                </a:solidFill>
                <a:uFillTx/>
                <a:latin typeface="Helvetica Neue LT Std"/>
              </a:rPr>
              <a:t>Vi tar fram 15GB med 5G och sänker priset</a:t>
            </a:r>
          </a:p>
          <a:p>
            <a:pPr marL="285750" marR="0" lvl="0" indent="-285750" algn="ctr" defTabSz="914400" rtl="0" fontAlgn="auto" hangingPunct="1">
              <a:lnSpc>
                <a:spcPct val="100000"/>
              </a:lnSpc>
              <a:spcBef>
                <a:spcPts val="0"/>
              </a:spcBef>
              <a:spcAft>
                <a:spcPts val="0"/>
              </a:spcAft>
              <a:buSzPct val="100000"/>
              <a:buChar char="-"/>
              <a:tabLst/>
              <a:defRPr sz="1800" b="0" i="0" u="none" strike="noStrike" kern="0" cap="none" spc="0" baseline="0">
                <a:solidFill>
                  <a:srgbClr val="000000"/>
                </a:solidFill>
                <a:uFillTx/>
              </a:defRPr>
            </a:pPr>
            <a:r>
              <a:rPr lang="sv-SE" sz="1400" b="0" i="0" u="none" strike="noStrike" kern="1200" cap="none" spc="0" baseline="0" dirty="0">
                <a:solidFill>
                  <a:srgbClr val="000000"/>
                </a:solidFill>
                <a:uFillTx/>
                <a:latin typeface="Helvetica Neue LT Std"/>
              </a:rPr>
              <a:t>Vi byter namn från Avtal till ”RAM”</a:t>
            </a:r>
          </a:p>
          <a:p>
            <a:pPr marL="285750" marR="0" lvl="0" indent="-285750" algn="ctr" defTabSz="914400" rtl="0" fontAlgn="auto" hangingPunct="1">
              <a:lnSpc>
                <a:spcPct val="100000"/>
              </a:lnSpc>
              <a:spcBef>
                <a:spcPts val="0"/>
              </a:spcBef>
              <a:spcAft>
                <a:spcPts val="0"/>
              </a:spcAft>
              <a:buSzPct val="100000"/>
              <a:buChar char="-"/>
              <a:tabLst/>
              <a:defRPr sz="1800" b="0" i="0" u="none" strike="noStrike" kern="0" cap="none" spc="0" baseline="0">
                <a:solidFill>
                  <a:srgbClr val="000000"/>
                </a:solidFill>
                <a:uFillTx/>
              </a:defRPr>
            </a:pPr>
            <a:r>
              <a:rPr lang="sv-SE" sz="1400" b="0" i="0" u="none" strike="noStrike" kern="1200" cap="none" spc="0" baseline="0" dirty="0">
                <a:solidFill>
                  <a:srgbClr val="000000"/>
                </a:solidFill>
                <a:uFillTx/>
                <a:latin typeface="Helvetica Neue LT Std"/>
              </a:rPr>
              <a:t>3Företag inkl. 3Världen kommer heta 3Företag Obegränsad RAM (betyder att kunder som inte har ramavtal kommer också få detta namn</a:t>
            </a:r>
            <a:r>
              <a:rPr lang="sv-SE" sz="1400" dirty="0">
                <a:solidFill>
                  <a:srgbClr val="000000"/>
                </a:solidFill>
                <a:latin typeface="Helvetica Neue LT Std"/>
              </a:rPr>
              <a:t>) </a:t>
            </a:r>
            <a:endParaRPr lang="sv-SE" sz="1400" b="0" i="0" u="none" strike="noStrike" kern="1200" cap="none" spc="0" baseline="0" dirty="0">
              <a:solidFill>
                <a:srgbClr val="000000"/>
              </a:solidFill>
              <a:uFillTx/>
              <a:latin typeface="Helvetica Neue LT Std"/>
            </a:endParaRPr>
          </a:p>
          <a:p>
            <a:pPr marL="285750" marR="0" lvl="0" indent="-285750" algn="ctr" defTabSz="914400" rtl="0" fontAlgn="auto" hangingPunct="1">
              <a:lnSpc>
                <a:spcPct val="100000"/>
              </a:lnSpc>
              <a:spcBef>
                <a:spcPts val="0"/>
              </a:spcBef>
              <a:spcAft>
                <a:spcPts val="0"/>
              </a:spcAft>
              <a:buSzPct val="100000"/>
              <a:buChar char="-"/>
              <a:tabLst/>
              <a:defRPr sz="1800" b="0" i="0" u="none" strike="noStrike" kern="0" cap="none" spc="0" baseline="0">
                <a:solidFill>
                  <a:srgbClr val="000000"/>
                </a:solidFill>
                <a:uFillTx/>
              </a:defRPr>
            </a:pPr>
            <a:r>
              <a:rPr lang="sv-SE" sz="1400" b="0" i="1" u="none" strike="noStrike" kern="1200" cap="none" spc="0" baseline="0" dirty="0">
                <a:solidFill>
                  <a:srgbClr val="000000"/>
                </a:solidFill>
                <a:uFillTx/>
                <a:latin typeface="Helvetica Neue LT Std"/>
              </a:rPr>
              <a:t>(Information till kunder som är omfattade av namnändringen kommer skickas ut i augusti)</a:t>
            </a:r>
          </a:p>
        </p:txBody>
      </p:sp>
      <p:sp>
        <p:nvSpPr>
          <p:cNvPr id="20" name="Rectangle 20">
            <a:extLst>
              <a:ext uri="{FF2B5EF4-FFF2-40B4-BE49-F238E27FC236}">
                <a16:creationId xmlns:a16="http://schemas.microsoft.com/office/drawing/2014/main" id="{C8C3B099-6F14-B4FF-0A97-255402FBF016}"/>
              </a:ext>
            </a:extLst>
          </p:cNvPr>
          <p:cNvSpPr/>
          <p:nvPr/>
        </p:nvSpPr>
        <p:spPr>
          <a:xfrm>
            <a:off x="4936955" y="2079400"/>
            <a:ext cx="1439997" cy="437961"/>
          </a:xfrm>
          <a:prstGeom prst="rect">
            <a:avLst/>
          </a:prstGeom>
          <a:solidFill>
            <a:srgbClr val="F2F2F2"/>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15GB </a:t>
            </a:r>
            <a:r>
              <a:rPr lang="sv-SE" sz="1000" b="0" i="0" u="none" strike="noStrike" kern="1200" cap="none" spc="0" baseline="0">
                <a:solidFill>
                  <a:srgbClr val="000000"/>
                </a:solidFill>
                <a:uFillTx/>
                <a:latin typeface="HelveticaNeueLT Std"/>
              </a:rPr>
              <a:t>199kr</a:t>
            </a:r>
          </a:p>
        </p:txBody>
      </p:sp>
      <p:sp>
        <p:nvSpPr>
          <p:cNvPr id="21" name="Oval 21">
            <a:extLst>
              <a:ext uri="{FF2B5EF4-FFF2-40B4-BE49-F238E27FC236}">
                <a16:creationId xmlns:a16="http://schemas.microsoft.com/office/drawing/2014/main" id="{DA500F0E-F787-1571-3EB1-EAA322567499}"/>
              </a:ext>
            </a:extLst>
          </p:cNvPr>
          <p:cNvSpPr/>
          <p:nvPr/>
        </p:nvSpPr>
        <p:spPr>
          <a:xfrm>
            <a:off x="2826355"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22" name="Oval 22">
            <a:extLst>
              <a:ext uri="{FF2B5EF4-FFF2-40B4-BE49-F238E27FC236}">
                <a16:creationId xmlns:a16="http://schemas.microsoft.com/office/drawing/2014/main" id="{BEE346C0-E6BB-04D3-676D-BA78A89CB61B}"/>
              </a:ext>
            </a:extLst>
          </p:cNvPr>
          <p:cNvSpPr/>
          <p:nvPr/>
        </p:nvSpPr>
        <p:spPr>
          <a:xfrm>
            <a:off x="4426006"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23" name="Oval 23">
            <a:extLst>
              <a:ext uri="{FF2B5EF4-FFF2-40B4-BE49-F238E27FC236}">
                <a16:creationId xmlns:a16="http://schemas.microsoft.com/office/drawing/2014/main" id="{5B678D59-D55E-18BA-6F5D-130FB2A1C48E}"/>
              </a:ext>
            </a:extLst>
          </p:cNvPr>
          <p:cNvSpPr/>
          <p:nvPr/>
        </p:nvSpPr>
        <p:spPr>
          <a:xfrm>
            <a:off x="6212817"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4G</a:t>
            </a:r>
          </a:p>
        </p:txBody>
      </p:sp>
      <p:sp>
        <p:nvSpPr>
          <p:cNvPr id="24" name="Oval 24">
            <a:extLst>
              <a:ext uri="{FF2B5EF4-FFF2-40B4-BE49-F238E27FC236}">
                <a16:creationId xmlns:a16="http://schemas.microsoft.com/office/drawing/2014/main" id="{48F72A46-DF4D-7798-1446-571E9722311E}"/>
              </a:ext>
            </a:extLst>
          </p:cNvPr>
          <p:cNvSpPr/>
          <p:nvPr/>
        </p:nvSpPr>
        <p:spPr>
          <a:xfrm>
            <a:off x="7847225"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25" name="Oval 25">
            <a:extLst>
              <a:ext uri="{FF2B5EF4-FFF2-40B4-BE49-F238E27FC236}">
                <a16:creationId xmlns:a16="http://schemas.microsoft.com/office/drawing/2014/main" id="{E2306FC3-03CB-2A9B-84ED-BE37D3EB8654}"/>
              </a:ext>
            </a:extLst>
          </p:cNvPr>
          <p:cNvSpPr/>
          <p:nvPr/>
        </p:nvSpPr>
        <p:spPr>
          <a:xfrm>
            <a:off x="9481633"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26" name="Oval 26">
            <a:extLst>
              <a:ext uri="{FF2B5EF4-FFF2-40B4-BE49-F238E27FC236}">
                <a16:creationId xmlns:a16="http://schemas.microsoft.com/office/drawing/2014/main" id="{B35391D5-3EF2-5935-BEFD-C6DFF71F2C7A}"/>
              </a:ext>
            </a:extLst>
          </p:cNvPr>
          <p:cNvSpPr/>
          <p:nvPr/>
        </p:nvSpPr>
        <p:spPr>
          <a:xfrm>
            <a:off x="11116040" y="1955279"/>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27" name="Rectangle 27">
            <a:extLst>
              <a:ext uri="{FF2B5EF4-FFF2-40B4-BE49-F238E27FC236}">
                <a16:creationId xmlns:a16="http://schemas.microsoft.com/office/drawing/2014/main" id="{3E1328FF-6BDC-9B5A-2F13-4D505567FF7C}"/>
              </a:ext>
            </a:extLst>
          </p:cNvPr>
          <p:cNvSpPr/>
          <p:nvPr/>
        </p:nvSpPr>
        <p:spPr>
          <a:xfrm>
            <a:off x="9881061" y="4272232"/>
            <a:ext cx="1439997" cy="442386"/>
          </a:xfrm>
          <a:prstGeom prst="rect">
            <a:avLst/>
          </a:prstGeom>
          <a:solidFill>
            <a:srgbClr val="FFDF99"/>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000000"/>
                </a:solidFill>
                <a:uFillTx/>
                <a:latin typeface="HelveticaNeueLT Std"/>
              </a:rPr>
              <a:t>3Företag Rörligt RAM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7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000000"/>
                </a:solidFill>
                <a:uFillTx/>
                <a:latin typeface="HelveticaNeueLT Std"/>
              </a:rPr>
              <a:t>50Mbit/s</a:t>
            </a:r>
          </a:p>
        </p:txBody>
      </p:sp>
      <p:sp>
        <p:nvSpPr>
          <p:cNvPr id="28" name="TextBox 28">
            <a:extLst>
              <a:ext uri="{FF2B5EF4-FFF2-40B4-BE49-F238E27FC236}">
                <a16:creationId xmlns:a16="http://schemas.microsoft.com/office/drawing/2014/main" id="{1063BBBD-B070-27C9-79A2-1312B81736D8}"/>
              </a:ext>
            </a:extLst>
          </p:cNvPr>
          <p:cNvSpPr txBox="1"/>
          <p:nvPr/>
        </p:nvSpPr>
        <p:spPr>
          <a:xfrm>
            <a:off x="5504267" y="3989371"/>
            <a:ext cx="497671" cy="276999"/>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FFFFFF"/>
                </a:solidFill>
                <a:uFillTx/>
                <a:latin typeface="HelveticaNeueLT Std"/>
              </a:rPr>
              <a:t>Ny</a:t>
            </a:r>
          </a:p>
        </p:txBody>
      </p:sp>
      <p:sp>
        <p:nvSpPr>
          <p:cNvPr id="29" name="Oval 29">
            <a:extLst>
              <a:ext uri="{FF2B5EF4-FFF2-40B4-BE49-F238E27FC236}">
                <a16:creationId xmlns:a16="http://schemas.microsoft.com/office/drawing/2014/main" id="{93B1799E-321D-6BE7-7C4E-EB24E2CAABCD}"/>
              </a:ext>
            </a:extLst>
          </p:cNvPr>
          <p:cNvSpPr/>
          <p:nvPr/>
        </p:nvSpPr>
        <p:spPr>
          <a:xfrm>
            <a:off x="2826355"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30" name="Oval 30">
            <a:extLst>
              <a:ext uri="{FF2B5EF4-FFF2-40B4-BE49-F238E27FC236}">
                <a16:creationId xmlns:a16="http://schemas.microsoft.com/office/drawing/2014/main" id="{4C113DC1-24DC-7244-8B7A-414F0F4893FE}"/>
              </a:ext>
            </a:extLst>
          </p:cNvPr>
          <p:cNvSpPr/>
          <p:nvPr/>
        </p:nvSpPr>
        <p:spPr>
          <a:xfrm>
            <a:off x="4435534"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31" name="Oval 31">
            <a:extLst>
              <a:ext uri="{FF2B5EF4-FFF2-40B4-BE49-F238E27FC236}">
                <a16:creationId xmlns:a16="http://schemas.microsoft.com/office/drawing/2014/main" id="{F1DF30CB-A73B-7293-A07D-E1BBB4A983B4}"/>
              </a:ext>
            </a:extLst>
          </p:cNvPr>
          <p:cNvSpPr/>
          <p:nvPr/>
        </p:nvSpPr>
        <p:spPr>
          <a:xfrm>
            <a:off x="6212817"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32" name="Oval 32">
            <a:extLst>
              <a:ext uri="{FF2B5EF4-FFF2-40B4-BE49-F238E27FC236}">
                <a16:creationId xmlns:a16="http://schemas.microsoft.com/office/drawing/2014/main" id="{5858BF40-B5FD-C0C7-9BDC-6DCE0F742245}"/>
              </a:ext>
            </a:extLst>
          </p:cNvPr>
          <p:cNvSpPr/>
          <p:nvPr/>
        </p:nvSpPr>
        <p:spPr>
          <a:xfrm>
            <a:off x="7847225"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33" name="Oval 33">
            <a:extLst>
              <a:ext uri="{FF2B5EF4-FFF2-40B4-BE49-F238E27FC236}">
                <a16:creationId xmlns:a16="http://schemas.microsoft.com/office/drawing/2014/main" id="{47236593-E07E-EEFE-EC5B-C186668A30D8}"/>
              </a:ext>
            </a:extLst>
          </p:cNvPr>
          <p:cNvSpPr/>
          <p:nvPr/>
        </p:nvSpPr>
        <p:spPr>
          <a:xfrm>
            <a:off x="9481633"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sp>
        <p:nvSpPr>
          <p:cNvPr id="34" name="Oval 34">
            <a:extLst>
              <a:ext uri="{FF2B5EF4-FFF2-40B4-BE49-F238E27FC236}">
                <a16:creationId xmlns:a16="http://schemas.microsoft.com/office/drawing/2014/main" id="{43BFD587-2579-B776-E28F-CB12B1DD7333}"/>
              </a:ext>
            </a:extLst>
          </p:cNvPr>
          <p:cNvSpPr/>
          <p:nvPr/>
        </p:nvSpPr>
        <p:spPr>
          <a:xfrm>
            <a:off x="11116040" y="4136352"/>
            <a:ext cx="208117" cy="19676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700" b="0" i="0" u="none" strike="noStrike" kern="1200" cap="none" spc="0" baseline="0">
                <a:solidFill>
                  <a:srgbClr val="FFFFFF"/>
                </a:solidFill>
                <a:uFillTx/>
                <a:latin typeface="HelveticaNeueLT Std"/>
              </a:rPr>
              <a:t>5G</a:t>
            </a:r>
          </a:p>
        </p:txBody>
      </p:sp>
      <p:pic>
        <p:nvPicPr>
          <p:cNvPr id="35" name="Graphic 35" descr="Earth globe: Africa and Europe with solid fill">
            <a:extLst>
              <a:ext uri="{FF2B5EF4-FFF2-40B4-BE49-F238E27FC236}">
                <a16:creationId xmlns:a16="http://schemas.microsoft.com/office/drawing/2014/main" id="{B1ED779D-3CB1-3E48-8CD0-E8A28494F8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47228" y="4141774"/>
            <a:ext cx="291684" cy="252648"/>
          </a:xfrm>
          <a:prstGeom prst="rect">
            <a:avLst/>
          </a:prstGeom>
          <a:noFill/>
          <a:ln>
            <a:noFill/>
          </a:ln>
        </p:spPr>
      </p:pic>
      <p:pic>
        <p:nvPicPr>
          <p:cNvPr id="36" name="Graphic 36" descr="Earth globe: Africa and Europe with solid fill">
            <a:extLst>
              <a:ext uri="{FF2B5EF4-FFF2-40B4-BE49-F238E27FC236}">
                <a16:creationId xmlns:a16="http://schemas.microsoft.com/office/drawing/2014/main" id="{B3FD9191-7AC6-1770-75B8-5F99BCCABE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47228" y="1941929"/>
            <a:ext cx="291684" cy="252648"/>
          </a:xfrm>
          <a:prstGeom prst="rect">
            <a:avLst/>
          </a:prstGeom>
          <a:noFill/>
          <a:ln>
            <a:noFill/>
          </a:ln>
        </p:spPr>
      </p:pic>
      <p:sp>
        <p:nvSpPr>
          <p:cNvPr id="37" name="textruta 36">
            <a:extLst>
              <a:ext uri="{FF2B5EF4-FFF2-40B4-BE49-F238E27FC236}">
                <a16:creationId xmlns:a16="http://schemas.microsoft.com/office/drawing/2014/main" id="{6749ED9F-9AD5-6F2D-7EB2-3A648C1DBF1F}"/>
              </a:ext>
            </a:extLst>
          </p:cNvPr>
          <p:cNvSpPr txBox="1"/>
          <p:nvPr/>
        </p:nvSpPr>
        <p:spPr>
          <a:xfrm>
            <a:off x="1832073" y="3972059"/>
            <a:ext cx="1127949" cy="323165"/>
          </a:xfrm>
          <a:prstGeom prst="rect">
            <a:avLst/>
          </a:prstGeom>
          <a:noFill/>
        </p:spPr>
        <p:txBody>
          <a:bodyPr wrap="square" rtlCol="0">
            <a:spAutoFit/>
          </a:bodyPr>
          <a:lstStyle/>
          <a:p>
            <a:pPr algn="l"/>
            <a:r>
              <a:rPr lang="sv-SE" sz="1500" dirty="0"/>
              <a:t>3Världen</a:t>
            </a:r>
          </a:p>
        </p:txBody>
      </p:sp>
      <p:sp>
        <p:nvSpPr>
          <p:cNvPr id="46" name="textruta 45">
            <a:extLst>
              <a:ext uri="{FF2B5EF4-FFF2-40B4-BE49-F238E27FC236}">
                <a16:creationId xmlns:a16="http://schemas.microsoft.com/office/drawing/2014/main" id="{03F0A125-1DE2-BA20-BCE9-FA61218A8A62}"/>
              </a:ext>
            </a:extLst>
          </p:cNvPr>
          <p:cNvSpPr txBox="1"/>
          <p:nvPr/>
        </p:nvSpPr>
        <p:spPr>
          <a:xfrm>
            <a:off x="3485116" y="3966287"/>
            <a:ext cx="1127949" cy="323165"/>
          </a:xfrm>
          <a:prstGeom prst="rect">
            <a:avLst/>
          </a:prstGeom>
          <a:noFill/>
        </p:spPr>
        <p:txBody>
          <a:bodyPr wrap="square" rtlCol="0">
            <a:spAutoFit/>
          </a:bodyPr>
          <a:lstStyle/>
          <a:p>
            <a:pPr algn="l"/>
            <a:r>
              <a:rPr lang="sv-SE" sz="1500" dirty="0"/>
              <a:t>3Värld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500"/>
                                        <p:tgtEl>
                                          <p:spTgt spid="3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fade">
                                      <p:cBhvr>
                                        <p:cTn id="54" dur="500"/>
                                        <p:tgtEl>
                                          <p:spTgt spid="1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fade">
                                      <p:cBhvr>
                                        <p:cTn id="65" dur="500"/>
                                        <p:tgtEl>
                                          <p:spTgt spid="1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fade">
                                      <p:cBhvr>
                                        <p:cTn id="71" dur="500"/>
                                        <p:tgtEl>
                                          <p:spTgt spid="15"/>
                                        </p:tgtEl>
                                      </p:cBhvr>
                                    </p:animEffect>
                                  </p:childTnLst>
                                </p:cTn>
                              </p:par>
                              <p:par>
                                <p:cTn id="72" presetID="10" presetClass="entr" presetSubtype="0" fill="hold" nodeType="withEffect">
                                  <p:stCondLst>
                                    <p:cond delay="0"/>
                                  </p:stCondLst>
                                  <p:childTnLst>
                                    <p:set>
                                      <p:cBhvr>
                                        <p:cTn id="73" dur="1" fill="hold">
                                          <p:stCondLst>
                                            <p:cond delay="0"/>
                                          </p:stCondLst>
                                        </p:cTn>
                                        <p:tgtEl>
                                          <p:spTgt spid="16"/>
                                        </p:tgtEl>
                                        <p:attrNameLst>
                                          <p:attrName>style.visibility</p:attrName>
                                        </p:attrNameLst>
                                      </p:cBhvr>
                                      <p:to>
                                        <p:strVal val="visible"/>
                                      </p:to>
                                    </p:set>
                                    <p:animEffect transition="in" filter="fade">
                                      <p:cBhvr>
                                        <p:cTn id="74" dur="500"/>
                                        <p:tgtEl>
                                          <p:spTgt spid="1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9"/>
                                        </p:tgtEl>
                                        <p:attrNameLst>
                                          <p:attrName>style.visibility</p:attrName>
                                        </p:attrNameLst>
                                      </p:cBhvr>
                                      <p:to>
                                        <p:strVal val="visible"/>
                                      </p:to>
                                    </p:set>
                                    <p:animEffect transition="in" filter="fade">
                                      <p:cBhvr>
                                        <p:cTn id="80" dur="500"/>
                                        <p:tgtEl>
                                          <p:spTgt spid="1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fade">
                                      <p:cBhvr>
                                        <p:cTn id="83" dur="500"/>
                                        <p:tgtEl>
                                          <p:spTgt spid="27"/>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9"/>
                                        </p:tgtEl>
                                        <p:attrNameLst>
                                          <p:attrName>style.visibility</p:attrName>
                                        </p:attrNameLst>
                                      </p:cBhvr>
                                      <p:to>
                                        <p:strVal val="visible"/>
                                      </p:to>
                                    </p:set>
                                    <p:animEffect transition="in" filter="fade">
                                      <p:cBhvr>
                                        <p:cTn id="89" dur="500"/>
                                        <p:tgtEl>
                                          <p:spTgt spid="29"/>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fade">
                                      <p:cBhvr>
                                        <p:cTn id="92" dur="500"/>
                                        <p:tgtEl>
                                          <p:spTgt spid="30"/>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2"/>
                                        </p:tgtEl>
                                        <p:attrNameLst>
                                          <p:attrName>style.visibility</p:attrName>
                                        </p:attrNameLst>
                                      </p:cBhvr>
                                      <p:to>
                                        <p:strVal val="visible"/>
                                      </p:to>
                                    </p:set>
                                    <p:animEffect transition="in" filter="fade">
                                      <p:cBhvr>
                                        <p:cTn id="98" dur="500"/>
                                        <p:tgtEl>
                                          <p:spTgt spid="32"/>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33"/>
                                        </p:tgtEl>
                                        <p:attrNameLst>
                                          <p:attrName>style.visibility</p:attrName>
                                        </p:attrNameLst>
                                      </p:cBhvr>
                                      <p:to>
                                        <p:strVal val="visible"/>
                                      </p:to>
                                    </p:set>
                                    <p:animEffect transition="in" filter="fade">
                                      <p:cBhvr>
                                        <p:cTn id="101" dur="500"/>
                                        <p:tgtEl>
                                          <p:spTgt spid="33"/>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4"/>
                                        </p:tgtEl>
                                        <p:attrNameLst>
                                          <p:attrName>style.visibility</p:attrName>
                                        </p:attrNameLst>
                                      </p:cBhvr>
                                      <p:to>
                                        <p:strVal val="visible"/>
                                      </p:to>
                                    </p:set>
                                    <p:animEffect transition="in" filter="fade">
                                      <p:cBhvr>
                                        <p:cTn id="104" dur="500"/>
                                        <p:tgtEl>
                                          <p:spTgt spid="34"/>
                                        </p:tgtEl>
                                      </p:cBhvr>
                                    </p:animEffect>
                                  </p:childTnLst>
                                </p:cTn>
                              </p:par>
                              <p:par>
                                <p:cTn id="105" presetID="10" presetClass="entr" presetSubtype="0" fill="hold" nodeType="with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fade">
                                      <p:cBhvr>
                                        <p:cTn id="10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7" grpId="0" animBg="1"/>
      <p:bldP spid="8" grpId="0" animBg="1"/>
      <p:bldP spid="9" grpId="0" animBg="1"/>
      <p:bldP spid="10" grpId="0" animBg="1"/>
      <p:bldP spid="11" grpId="0" animBg="1"/>
      <p:bldP spid="12" grpId="0" animBg="1"/>
      <p:bldP spid="13" grpId="0" animBg="1"/>
      <p:bldP spid="14" grpId="0" animBg="1"/>
      <p:bldP spid="15" grpId="0" animBg="1"/>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p:bldP spid="29" grpId="0" animBg="1"/>
      <p:bldP spid="30" grpId="0" animBg="1"/>
      <p:bldP spid="31" grpId="0" animBg="1"/>
      <p:bldP spid="32" grpId="0" animBg="1"/>
      <p:bldP spid="33" grpId="0" animBg="1"/>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143577D-C2E1-398D-0D0E-D2E7611D6E26}"/>
              </a:ext>
            </a:extLst>
          </p:cNvPr>
          <p:cNvGraphicFramePr>
            <a:graphicFrameLocks noChangeAspect="1"/>
          </p:cNvGraphicFramePr>
          <p:nvPr>
            <p:custDataLst>
              <p:tags r:id="rId1"/>
            </p:custDataLst>
            <p:extLst>
              <p:ext uri="{D42A27DB-BD31-4B8C-83A1-F6EECF244321}">
                <p14:modId xmlns:p14="http://schemas.microsoft.com/office/powerpoint/2010/main" val="3332910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E143577D-C2E1-398D-0D0E-D2E7611D6E2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7" name="Platshållare för bild 16" descr="Person som håller smartphone">
            <a:extLst>
              <a:ext uri="{FF2B5EF4-FFF2-40B4-BE49-F238E27FC236}">
                <a16:creationId xmlns:a16="http://schemas.microsoft.com/office/drawing/2014/main" id="{8D6DFCC3-32F7-9B92-90B2-1924363EC3F0}"/>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87" r="25287"/>
          <a:stretch>
            <a:fillRect/>
          </a:stretch>
        </p:blipFill>
        <p:spPr/>
      </p:pic>
      <p:sp>
        <p:nvSpPr>
          <p:cNvPr id="4" name="Platshållare för datum 3">
            <a:extLst>
              <a:ext uri="{FF2B5EF4-FFF2-40B4-BE49-F238E27FC236}">
                <a16:creationId xmlns:a16="http://schemas.microsoft.com/office/drawing/2014/main" id="{CE77D837-FC69-7860-509E-587700E1FCC5}"/>
              </a:ext>
            </a:extLst>
          </p:cNvPr>
          <p:cNvSpPr>
            <a:spLocks noGrp="1"/>
          </p:cNvSpPr>
          <p:nvPr>
            <p:ph type="dt" sz="half" idx="10"/>
          </p:nvPr>
        </p:nvSpPr>
        <p:spPr/>
        <p:txBody>
          <a:bodyPr/>
          <a:lstStyle/>
          <a:p>
            <a:fld id="{06C8F613-49F5-43BD-961F-F65849D5DA32}" type="datetime1">
              <a:rPr lang="sv-SE" smtClean="0"/>
              <a:t>2024-08-20</a:t>
            </a:fld>
            <a:endParaRPr lang="sv-SE"/>
          </a:p>
        </p:txBody>
      </p:sp>
      <p:sp>
        <p:nvSpPr>
          <p:cNvPr id="2" name="Title 1">
            <a:extLst>
              <a:ext uri="{FF2B5EF4-FFF2-40B4-BE49-F238E27FC236}">
                <a16:creationId xmlns:a16="http://schemas.microsoft.com/office/drawing/2014/main" id="{C1EAFF80-24C3-C272-F4DA-27ADCB13EDF6}"/>
              </a:ext>
            </a:extLst>
          </p:cNvPr>
          <p:cNvSpPr txBox="1">
            <a:spLocks/>
          </p:cNvSpPr>
          <p:nvPr/>
        </p:nvSpPr>
        <p:spPr>
          <a:xfrm>
            <a:off x="742603" y="437028"/>
            <a:ext cx="4610795" cy="741733"/>
          </a:xfrm>
          <a:prstGeom prst="rect">
            <a:avLst/>
          </a:prstGeom>
        </p:spPr>
        <p:txBody>
          <a:bodyPr vert="horz" lIns="0" tIns="0" rIns="0" bIns="0" rtlCol="0" anchor="t">
            <a:noAutofit/>
          </a:bodyPr>
          <a:lstStyle>
            <a:lvl1pPr algn="l" defTabSz="914400" rtl="0" eaLnBrk="1" latinLnBrk="0" hangingPunct="1">
              <a:lnSpc>
                <a:spcPts val="7500"/>
              </a:lnSpc>
              <a:spcBef>
                <a:spcPct val="0"/>
              </a:spcBef>
              <a:buNone/>
              <a:defRPr sz="7200" b="1" kern="1200">
                <a:solidFill>
                  <a:schemeClr val="bg1"/>
                </a:solidFill>
                <a:latin typeface="+mj-lt"/>
                <a:ea typeface="+mj-ea"/>
                <a:cs typeface="+mj-cs"/>
              </a:defRPr>
            </a:lvl1pPr>
          </a:lstStyle>
          <a:p>
            <a:pPr defTabSz="914377">
              <a:defRPr/>
            </a:pPr>
            <a:r>
              <a:rPr lang="sv-SE" sz="4267" dirty="0">
                <a:solidFill>
                  <a:srgbClr val="FF8400"/>
                </a:solidFill>
                <a:latin typeface="HelveticaNeueLT Std"/>
              </a:rPr>
              <a:t>Ramavtalsportfölj</a:t>
            </a:r>
          </a:p>
        </p:txBody>
      </p:sp>
      <p:sp>
        <p:nvSpPr>
          <p:cNvPr id="7" name="Rectangle: Rounded Corners 18">
            <a:extLst>
              <a:ext uri="{FF2B5EF4-FFF2-40B4-BE49-F238E27FC236}">
                <a16:creationId xmlns:a16="http://schemas.microsoft.com/office/drawing/2014/main" id="{C39E3B6B-4438-7C70-5D51-20586D5E35A1}"/>
              </a:ext>
            </a:extLst>
          </p:cNvPr>
          <p:cNvSpPr/>
          <p:nvPr/>
        </p:nvSpPr>
        <p:spPr>
          <a:xfrm>
            <a:off x="742603" y="2466637"/>
            <a:ext cx="2492296" cy="91502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914377">
              <a:lnSpc>
                <a:spcPct val="150000"/>
              </a:lnSpc>
              <a:defRPr/>
            </a:pPr>
            <a:r>
              <a:rPr lang="sv-SE" b="1" dirty="0">
                <a:solidFill>
                  <a:prstClr val="white"/>
                </a:solidFill>
                <a:latin typeface="HelveticaNeueLT Std"/>
              </a:rPr>
              <a:t>3Företag 1GB RAM</a:t>
            </a:r>
          </a:p>
          <a:p>
            <a:pPr algn="ctr" defTabSz="914377">
              <a:defRPr/>
            </a:pPr>
            <a:r>
              <a:rPr lang="sv-SE" sz="1400" b="1" dirty="0">
                <a:solidFill>
                  <a:prstClr val="white"/>
                </a:solidFill>
                <a:latin typeface="HelveticaNeueLT Std"/>
              </a:rPr>
              <a:t>99kr</a:t>
            </a:r>
            <a:endParaRPr lang="sv-SE" sz="1400" dirty="0">
              <a:solidFill>
                <a:prstClr val="white"/>
              </a:solidFill>
              <a:latin typeface="HelveticaNeueLT Std"/>
            </a:endParaRPr>
          </a:p>
        </p:txBody>
      </p:sp>
      <p:sp>
        <p:nvSpPr>
          <p:cNvPr id="8" name="TextBox 25">
            <a:extLst>
              <a:ext uri="{FF2B5EF4-FFF2-40B4-BE49-F238E27FC236}">
                <a16:creationId xmlns:a16="http://schemas.microsoft.com/office/drawing/2014/main" id="{41215837-CEB1-8728-FA7C-BE68F226DB99}"/>
              </a:ext>
            </a:extLst>
          </p:cNvPr>
          <p:cNvSpPr txBox="1"/>
          <p:nvPr/>
        </p:nvSpPr>
        <p:spPr>
          <a:xfrm>
            <a:off x="3636412" y="3328088"/>
            <a:ext cx="1913643" cy="1802939"/>
          </a:xfrm>
          <a:prstGeom prst="roundRect">
            <a:avLst/>
          </a:prstGeom>
          <a:noFill/>
          <a:ln w="19050">
            <a:solidFill>
              <a:schemeClr val="accent1">
                <a:lumMod val="60000"/>
                <a:lumOff val="40000"/>
              </a:schemeClr>
            </a:solidFill>
          </a:ln>
        </p:spPr>
        <p:txBody>
          <a:bodyPr wrap="square" lIns="91440" tIns="45720" rIns="91440" bIns="45720" rtlCol="0" anchor="t">
            <a:noAutofit/>
          </a:bodyPr>
          <a:lstStyle>
            <a:defPPr>
              <a:defRPr lang="sv-SE"/>
            </a:defPPr>
            <a:lvl1pPr marL="180975" indent="-180975">
              <a:buFont typeface="Wingdings" panose="05000000000000000000" pitchFamily="2" charset="2"/>
              <a:buChar char="ü"/>
              <a:defRPr sz="1200"/>
            </a:lvl1pPr>
          </a:lstStyle>
          <a:p>
            <a:pPr marL="180970" indent="-180970" defTabSz="914377">
              <a:lnSpc>
                <a:spcPct val="150000"/>
              </a:lnSpc>
              <a:defRPr/>
            </a:pPr>
            <a:r>
              <a:rPr lang="sv-SE" dirty="0">
                <a:solidFill>
                  <a:prstClr val="black"/>
                </a:solidFill>
                <a:latin typeface="HelveticaNeueLT Std"/>
              </a:rPr>
              <a:t>Samtal &amp; sms ingår</a:t>
            </a:r>
          </a:p>
          <a:p>
            <a:pPr marL="180970" indent="-180970" defTabSz="914377">
              <a:lnSpc>
                <a:spcPct val="150000"/>
              </a:lnSpc>
              <a:defRPr/>
            </a:pPr>
            <a:r>
              <a:rPr lang="sv-SE" dirty="0">
                <a:solidFill>
                  <a:prstClr val="black"/>
                </a:solidFill>
                <a:latin typeface="HelveticaNeueLT Std"/>
              </a:rPr>
              <a:t>Begränsad surf</a:t>
            </a:r>
          </a:p>
          <a:p>
            <a:pPr marL="180970" indent="-180970" defTabSz="914377">
              <a:lnSpc>
                <a:spcPct val="150000"/>
              </a:lnSpc>
              <a:defRPr/>
            </a:pPr>
            <a:r>
              <a:rPr lang="sv-SE" dirty="0">
                <a:solidFill>
                  <a:prstClr val="black"/>
                </a:solidFill>
                <a:latin typeface="HelveticaNeueLT Std"/>
              </a:rPr>
              <a:t>Begränsad surf utomlands</a:t>
            </a:r>
          </a:p>
          <a:p>
            <a:pPr marL="180970" indent="-180970" defTabSz="914377">
              <a:lnSpc>
                <a:spcPct val="150000"/>
              </a:lnSpc>
              <a:defRPr/>
            </a:pPr>
            <a:r>
              <a:rPr lang="sv-SE" dirty="0">
                <a:solidFill>
                  <a:prstClr val="black"/>
                </a:solidFill>
                <a:latin typeface="HelveticaNeueLT Std"/>
              </a:rPr>
              <a:t>5G 100 Mbit/s</a:t>
            </a:r>
          </a:p>
          <a:p>
            <a:pPr marL="0" indent="0" defTabSz="914377">
              <a:lnSpc>
                <a:spcPct val="150000"/>
              </a:lnSpc>
              <a:buNone/>
              <a:defRPr/>
            </a:pPr>
            <a:endParaRPr lang="sv-SE" dirty="0">
              <a:solidFill>
                <a:prstClr val="black"/>
              </a:solidFill>
              <a:latin typeface="HelveticaNeueLT Std"/>
            </a:endParaRPr>
          </a:p>
          <a:p>
            <a:pPr marL="180970" indent="-180970" defTabSz="914377">
              <a:defRPr/>
            </a:pPr>
            <a:endParaRPr lang="sv-SE" dirty="0">
              <a:solidFill>
                <a:prstClr val="black"/>
              </a:solidFill>
              <a:latin typeface="HelveticaNeueLT Std"/>
            </a:endParaRPr>
          </a:p>
        </p:txBody>
      </p:sp>
      <p:sp>
        <p:nvSpPr>
          <p:cNvPr id="10" name="Rectangle: Rounded Corners 18">
            <a:extLst>
              <a:ext uri="{FF2B5EF4-FFF2-40B4-BE49-F238E27FC236}">
                <a16:creationId xmlns:a16="http://schemas.microsoft.com/office/drawing/2014/main" id="{AAE550BF-F418-D739-A9B1-E5F6804EB601}"/>
              </a:ext>
            </a:extLst>
          </p:cNvPr>
          <p:cNvSpPr/>
          <p:nvPr/>
        </p:nvSpPr>
        <p:spPr>
          <a:xfrm>
            <a:off x="742603" y="3685740"/>
            <a:ext cx="2492296" cy="91502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914377">
              <a:lnSpc>
                <a:spcPct val="150000"/>
              </a:lnSpc>
              <a:defRPr/>
            </a:pPr>
            <a:r>
              <a:rPr lang="sv-SE" b="1" dirty="0">
                <a:solidFill>
                  <a:prstClr val="white"/>
                </a:solidFill>
                <a:latin typeface="HelveticaNeueLT Std"/>
              </a:rPr>
              <a:t>3Företag 6GB RAM</a:t>
            </a:r>
          </a:p>
          <a:p>
            <a:pPr algn="ctr" defTabSz="914377">
              <a:defRPr/>
            </a:pPr>
            <a:r>
              <a:rPr lang="sv-SE" sz="1400" b="1" dirty="0">
                <a:solidFill>
                  <a:prstClr val="white"/>
                </a:solidFill>
                <a:latin typeface="HelveticaNeueLT Std"/>
              </a:rPr>
              <a:t>149kr</a:t>
            </a:r>
            <a:endParaRPr lang="sv-SE" sz="1400" dirty="0">
              <a:solidFill>
                <a:prstClr val="white"/>
              </a:solidFill>
              <a:latin typeface="HelveticaNeueLT Std"/>
            </a:endParaRPr>
          </a:p>
        </p:txBody>
      </p:sp>
      <p:sp>
        <p:nvSpPr>
          <p:cNvPr id="11" name="Rectangle: Rounded Corners 18">
            <a:extLst>
              <a:ext uri="{FF2B5EF4-FFF2-40B4-BE49-F238E27FC236}">
                <a16:creationId xmlns:a16="http://schemas.microsoft.com/office/drawing/2014/main" id="{3B1DE53D-A6F6-D036-D5C3-8EAD4298F6A1}"/>
              </a:ext>
            </a:extLst>
          </p:cNvPr>
          <p:cNvSpPr/>
          <p:nvPr/>
        </p:nvSpPr>
        <p:spPr>
          <a:xfrm>
            <a:off x="742603" y="4904353"/>
            <a:ext cx="2470215" cy="870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914377">
              <a:lnSpc>
                <a:spcPct val="150000"/>
              </a:lnSpc>
              <a:defRPr/>
            </a:pPr>
            <a:r>
              <a:rPr lang="sv-SE" sz="1500" b="1" dirty="0">
                <a:solidFill>
                  <a:prstClr val="white"/>
                </a:solidFill>
                <a:latin typeface="HelveticaNeueLT Std"/>
              </a:rPr>
              <a:t>3Företag 15GB RAM</a:t>
            </a:r>
          </a:p>
          <a:p>
            <a:pPr algn="ctr" defTabSz="914377">
              <a:defRPr/>
            </a:pPr>
            <a:r>
              <a:rPr lang="sv-SE" sz="1400" b="1" dirty="0">
                <a:solidFill>
                  <a:prstClr val="white"/>
                </a:solidFill>
                <a:latin typeface="HelveticaNeueLT Std"/>
              </a:rPr>
              <a:t>169kr</a:t>
            </a:r>
            <a:endParaRPr lang="sv-SE" sz="1400" dirty="0">
              <a:solidFill>
                <a:prstClr val="white"/>
              </a:solidFill>
              <a:latin typeface="HelveticaNeueLT Std"/>
            </a:endParaRPr>
          </a:p>
        </p:txBody>
      </p:sp>
      <p:sp>
        <p:nvSpPr>
          <p:cNvPr id="12" name="textruta 11">
            <a:extLst>
              <a:ext uri="{FF2B5EF4-FFF2-40B4-BE49-F238E27FC236}">
                <a16:creationId xmlns:a16="http://schemas.microsoft.com/office/drawing/2014/main" id="{66D3775B-1B5B-6DB2-58FE-250AA01EDAA3}"/>
              </a:ext>
            </a:extLst>
          </p:cNvPr>
          <p:cNvSpPr txBox="1"/>
          <p:nvPr/>
        </p:nvSpPr>
        <p:spPr>
          <a:xfrm>
            <a:off x="871675" y="1876192"/>
            <a:ext cx="2234152" cy="369332"/>
          </a:xfrm>
          <a:prstGeom prst="rect">
            <a:avLst/>
          </a:prstGeom>
          <a:noFill/>
        </p:spPr>
        <p:txBody>
          <a:bodyPr wrap="square" rtlCol="0">
            <a:spAutoFit/>
          </a:bodyPr>
          <a:lstStyle/>
          <a:p>
            <a:pPr algn="ctr" defTabSz="914377">
              <a:defRPr/>
            </a:pPr>
            <a:r>
              <a:rPr lang="sv-SE" b="1" dirty="0">
                <a:solidFill>
                  <a:prstClr val="black"/>
                </a:solidFill>
                <a:latin typeface="HelveticaNeueLT Std"/>
              </a:rPr>
              <a:t>EU/EES</a:t>
            </a:r>
          </a:p>
        </p:txBody>
      </p:sp>
    </p:spTree>
    <p:extLst>
      <p:ext uri="{BB962C8B-B14F-4D97-AF65-F5344CB8AC3E}">
        <p14:creationId xmlns:p14="http://schemas.microsoft.com/office/powerpoint/2010/main" val="1258770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049231-1175-E0AA-4EEF-8871ADAEA3AD}"/>
              </a:ext>
            </a:extLst>
          </p:cNvPr>
          <p:cNvGraphicFramePr>
            <a:graphicFrameLocks noChangeAspect="1"/>
          </p:cNvGraphicFramePr>
          <p:nvPr>
            <p:custDataLst>
              <p:tags r:id="rId1"/>
            </p:custDataLst>
            <p:extLst>
              <p:ext uri="{D42A27DB-BD31-4B8C-83A1-F6EECF244321}">
                <p14:modId xmlns:p14="http://schemas.microsoft.com/office/powerpoint/2010/main" val="33384728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3049231-1175-E0AA-4EEF-8871ADAEA3A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CE77D837-FC69-7860-509E-587700E1FCC5}"/>
              </a:ext>
            </a:extLst>
          </p:cNvPr>
          <p:cNvSpPr>
            <a:spLocks noGrp="1"/>
          </p:cNvSpPr>
          <p:nvPr>
            <p:ph type="dt" sz="half" idx="10"/>
          </p:nvPr>
        </p:nvSpPr>
        <p:spPr/>
        <p:txBody>
          <a:bodyPr/>
          <a:lstStyle/>
          <a:p>
            <a:fld id="{06C8F613-49F5-43BD-961F-F65849D5DA32}" type="datetime1">
              <a:rPr lang="sv-SE" smtClean="0"/>
              <a:t>2024-08-20</a:t>
            </a:fld>
            <a:endParaRPr lang="sv-SE"/>
          </a:p>
        </p:txBody>
      </p:sp>
      <p:sp>
        <p:nvSpPr>
          <p:cNvPr id="2" name="Title 1">
            <a:extLst>
              <a:ext uri="{FF2B5EF4-FFF2-40B4-BE49-F238E27FC236}">
                <a16:creationId xmlns:a16="http://schemas.microsoft.com/office/drawing/2014/main" id="{C1EAFF80-24C3-C272-F4DA-27ADCB13EDF6}"/>
              </a:ext>
            </a:extLst>
          </p:cNvPr>
          <p:cNvSpPr txBox="1">
            <a:spLocks/>
          </p:cNvSpPr>
          <p:nvPr/>
        </p:nvSpPr>
        <p:spPr>
          <a:xfrm>
            <a:off x="742603" y="437028"/>
            <a:ext cx="4610795" cy="741733"/>
          </a:xfrm>
          <a:prstGeom prst="rect">
            <a:avLst/>
          </a:prstGeom>
        </p:spPr>
        <p:txBody>
          <a:bodyPr vert="horz" lIns="0" tIns="0" rIns="0" bIns="0" rtlCol="0" anchor="t">
            <a:noAutofit/>
          </a:bodyPr>
          <a:lstStyle>
            <a:lvl1pPr algn="l" defTabSz="914400" rtl="0" eaLnBrk="1" latinLnBrk="0" hangingPunct="1">
              <a:lnSpc>
                <a:spcPts val="7500"/>
              </a:lnSpc>
              <a:spcBef>
                <a:spcPct val="0"/>
              </a:spcBef>
              <a:buNone/>
              <a:defRPr sz="7200" b="1" kern="1200">
                <a:solidFill>
                  <a:schemeClr val="bg1"/>
                </a:solidFill>
                <a:latin typeface="+mj-lt"/>
                <a:ea typeface="+mj-ea"/>
                <a:cs typeface="+mj-cs"/>
              </a:defRPr>
            </a:lvl1pPr>
          </a:lstStyle>
          <a:p>
            <a:pPr defTabSz="914377">
              <a:defRPr/>
            </a:pPr>
            <a:r>
              <a:rPr lang="sv-SE" sz="4267" dirty="0">
                <a:solidFill>
                  <a:srgbClr val="FF8400"/>
                </a:solidFill>
                <a:latin typeface="HelveticaNeueLT Std"/>
              </a:rPr>
              <a:t>Ramavtalsportfölj</a:t>
            </a:r>
          </a:p>
        </p:txBody>
      </p:sp>
      <p:sp>
        <p:nvSpPr>
          <p:cNvPr id="13" name="Rectangle: Rounded Corners 19">
            <a:extLst>
              <a:ext uri="{FF2B5EF4-FFF2-40B4-BE49-F238E27FC236}">
                <a16:creationId xmlns:a16="http://schemas.microsoft.com/office/drawing/2014/main" id="{A5955E1A-7743-D1C0-ADDC-111039E82F32}"/>
              </a:ext>
            </a:extLst>
          </p:cNvPr>
          <p:cNvSpPr/>
          <p:nvPr/>
        </p:nvSpPr>
        <p:spPr>
          <a:xfrm>
            <a:off x="424669" y="4374536"/>
            <a:ext cx="2655941" cy="13873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914377">
              <a:lnSpc>
                <a:spcPct val="150000"/>
              </a:lnSpc>
              <a:defRPr/>
            </a:pPr>
            <a:r>
              <a:rPr lang="sv-SE" b="1" dirty="0">
                <a:solidFill>
                  <a:prstClr val="white"/>
                </a:solidFill>
                <a:latin typeface="HelveticaNeueLT Std"/>
              </a:rPr>
              <a:t>3Företag Obegränsad Ram</a:t>
            </a:r>
            <a:br>
              <a:rPr lang="sv-SE" b="1" dirty="0">
                <a:solidFill>
                  <a:prstClr val="white"/>
                </a:solidFill>
                <a:latin typeface="HelveticaNeueLT Std"/>
              </a:rPr>
            </a:br>
            <a:r>
              <a:rPr lang="sv-SE" sz="1400" b="1" dirty="0">
                <a:solidFill>
                  <a:prstClr val="white"/>
                </a:solidFill>
                <a:latin typeface="HelveticaNeueLT Std"/>
              </a:rPr>
              <a:t>249kr</a:t>
            </a:r>
            <a:endParaRPr lang="sv-SE" sz="1400" dirty="0">
              <a:solidFill>
                <a:prstClr val="white"/>
              </a:solidFill>
              <a:latin typeface="HelveticaNeueLT Std"/>
            </a:endParaRPr>
          </a:p>
        </p:txBody>
      </p:sp>
      <p:sp>
        <p:nvSpPr>
          <p:cNvPr id="14" name="TextBox 25">
            <a:extLst>
              <a:ext uri="{FF2B5EF4-FFF2-40B4-BE49-F238E27FC236}">
                <a16:creationId xmlns:a16="http://schemas.microsoft.com/office/drawing/2014/main" id="{55D22434-76B1-9267-DDB0-67A1225C2258}"/>
              </a:ext>
            </a:extLst>
          </p:cNvPr>
          <p:cNvSpPr txBox="1"/>
          <p:nvPr/>
        </p:nvSpPr>
        <p:spPr>
          <a:xfrm>
            <a:off x="3505279" y="3108787"/>
            <a:ext cx="2328652" cy="2154149"/>
          </a:xfrm>
          <a:prstGeom prst="roundRect">
            <a:avLst/>
          </a:prstGeom>
          <a:noFill/>
          <a:ln w="19050">
            <a:solidFill>
              <a:schemeClr val="accent1">
                <a:lumMod val="60000"/>
                <a:lumOff val="40000"/>
              </a:schemeClr>
            </a:solidFill>
          </a:ln>
        </p:spPr>
        <p:txBody>
          <a:bodyPr wrap="square" lIns="91440" tIns="45720" rIns="91440" bIns="45720" rtlCol="0" anchor="t">
            <a:noAutofit/>
          </a:bodyPr>
          <a:lstStyle>
            <a:defPPr>
              <a:defRPr lang="sv-SE"/>
            </a:defPPr>
            <a:lvl1pPr marL="180975" indent="-180975">
              <a:buFont typeface="Wingdings" panose="05000000000000000000" pitchFamily="2" charset="2"/>
              <a:buChar char="ü"/>
              <a:defRPr sz="1200"/>
            </a:lvl1pPr>
          </a:lstStyle>
          <a:p>
            <a:pPr marL="180970" indent="-180970" defTabSz="914377">
              <a:defRPr/>
            </a:pPr>
            <a:r>
              <a:rPr lang="sv-SE" dirty="0">
                <a:solidFill>
                  <a:prstClr val="black"/>
                </a:solidFill>
                <a:latin typeface="HelveticaNeueLT Std"/>
              </a:rPr>
              <a:t>Samtal &amp; sms ingår</a:t>
            </a:r>
          </a:p>
          <a:p>
            <a:pPr marL="180970" indent="-180970" defTabSz="914377">
              <a:lnSpc>
                <a:spcPct val="150000"/>
              </a:lnSpc>
              <a:defRPr/>
            </a:pPr>
            <a:r>
              <a:rPr lang="sv-SE" dirty="0">
                <a:solidFill>
                  <a:prstClr val="black"/>
                </a:solidFill>
                <a:latin typeface="HelveticaNeueLT Std"/>
              </a:rPr>
              <a:t>Obegränsad data</a:t>
            </a:r>
          </a:p>
          <a:p>
            <a:pPr marL="180970" indent="-180970" defTabSz="914377">
              <a:defRPr/>
            </a:pPr>
            <a:r>
              <a:rPr lang="sv-SE" dirty="0">
                <a:solidFill>
                  <a:prstClr val="black"/>
                </a:solidFill>
                <a:latin typeface="HelveticaNeueLT Std"/>
              </a:rPr>
              <a:t>100/50GB EU/EES surf och i 3Världen länder</a:t>
            </a:r>
          </a:p>
          <a:p>
            <a:pPr marL="180970" indent="-180970" defTabSz="914377">
              <a:lnSpc>
                <a:spcPct val="150000"/>
              </a:lnSpc>
              <a:defRPr/>
            </a:pPr>
            <a:r>
              <a:rPr lang="sv-SE" dirty="0">
                <a:solidFill>
                  <a:prstClr val="black"/>
                </a:solidFill>
                <a:latin typeface="HelveticaNeueLT Std"/>
              </a:rPr>
              <a:t>5G 1000Mbit/s</a:t>
            </a:r>
          </a:p>
          <a:p>
            <a:pPr marL="180970" indent="-180970" defTabSz="914377">
              <a:lnSpc>
                <a:spcPct val="150000"/>
              </a:lnSpc>
              <a:defRPr/>
            </a:pPr>
            <a:r>
              <a:rPr lang="sv-SE" dirty="0">
                <a:solidFill>
                  <a:prstClr val="black"/>
                </a:solidFill>
                <a:latin typeface="HelveticaNeueLT Std"/>
              </a:rPr>
              <a:t>Surfa och ring i 80 länder</a:t>
            </a:r>
          </a:p>
          <a:p>
            <a:pPr marL="180970" indent="-180970" defTabSz="914377">
              <a:defRPr/>
            </a:pPr>
            <a:r>
              <a:rPr lang="sv-SE" dirty="0">
                <a:solidFill>
                  <a:prstClr val="black"/>
                </a:solidFill>
                <a:latin typeface="HelveticaNeueLT Std"/>
              </a:rPr>
              <a:t>10 timmar till utlandet med 3Världen företag</a:t>
            </a:r>
          </a:p>
          <a:p>
            <a:pPr marL="0" indent="0" defTabSz="914377">
              <a:lnSpc>
                <a:spcPct val="150000"/>
              </a:lnSpc>
              <a:buNone/>
              <a:defRPr/>
            </a:pPr>
            <a:endParaRPr lang="sv-SE" dirty="0">
              <a:solidFill>
                <a:prstClr val="black"/>
              </a:solidFill>
              <a:latin typeface="HelveticaNeueLT Std"/>
            </a:endParaRPr>
          </a:p>
          <a:p>
            <a:pPr marL="180970" indent="-180970" defTabSz="914377">
              <a:defRPr/>
            </a:pPr>
            <a:endParaRPr lang="sv-SE" dirty="0">
              <a:solidFill>
                <a:prstClr val="black"/>
              </a:solidFill>
              <a:latin typeface="HelveticaNeueLT Std"/>
            </a:endParaRPr>
          </a:p>
        </p:txBody>
      </p:sp>
      <p:sp>
        <p:nvSpPr>
          <p:cNvPr id="15" name="Rectangle: Rounded Corners 19">
            <a:extLst>
              <a:ext uri="{FF2B5EF4-FFF2-40B4-BE49-F238E27FC236}">
                <a16:creationId xmlns:a16="http://schemas.microsoft.com/office/drawing/2014/main" id="{6446D79E-B403-0EF8-5510-9EEB83E56EA3}"/>
              </a:ext>
            </a:extLst>
          </p:cNvPr>
          <p:cNvSpPr/>
          <p:nvPr/>
        </p:nvSpPr>
        <p:spPr>
          <a:xfrm>
            <a:off x="430110" y="2598547"/>
            <a:ext cx="2655941" cy="13873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914377">
              <a:lnSpc>
                <a:spcPct val="150000"/>
              </a:lnSpc>
              <a:defRPr/>
            </a:pPr>
            <a:r>
              <a:rPr lang="sv-SE" b="1" dirty="0">
                <a:solidFill>
                  <a:prstClr val="white"/>
                </a:solidFill>
                <a:latin typeface="HelveticaNeueLT Std"/>
              </a:rPr>
              <a:t>3Företag 50GB RAM</a:t>
            </a:r>
            <a:br>
              <a:rPr lang="sv-SE" b="1" dirty="0">
                <a:solidFill>
                  <a:prstClr val="white"/>
                </a:solidFill>
                <a:latin typeface="HelveticaNeueLT Std"/>
              </a:rPr>
            </a:br>
            <a:r>
              <a:rPr lang="sv-SE" sz="1400" b="1" dirty="0">
                <a:solidFill>
                  <a:prstClr val="white"/>
                </a:solidFill>
                <a:latin typeface="HelveticaNeueLT Std"/>
              </a:rPr>
              <a:t>199kr</a:t>
            </a:r>
            <a:endParaRPr lang="sv-SE" sz="1400" dirty="0">
              <a:solidFill>
                <a:prstClr val="white"/>
              </a:solidFill>
              <a:latin typeface="HelveticaNeueLT Std"/>
            </a:endParaRPr>
          </a:p>
        </p:txBody>
      </p:sp>
      <p:sp>
        <p:nvSpPr>
          <p:cNvPr id="16" name="textruta 15">
            <a:extLst>
              <a:ext uri="{FF2B5EF4-FFF2-40B4-BE49-F238E27FC236}">
                <a16:creationId xmlns:a16="http://schemas.microsoft.com/office/drawing/2014/main" id="{22A12F8D-5D07-034A-1A07-3DB3BCB414C0}"/>
              </a:ext>
            </a:extLst>
          </p:cNvPr>
          <p:cNvSpPr txBox="1"/>
          <p:nvPr/>
        </p:nvSpPr>
        <p:spPr>
          <a:xfrm>
            <a:off x="641003" y="2014576"/>
            <a:ext cx="2234152" cy="369332"/>
          </a:xfrm>
          <a:prstGeom prst="rect">
            <a:avLst/>
          </a:prstGeom>
          <a:noFill/>
        </p:spPr>
        <p:txBody>
          <a:bodyPr wrap="square" rtlCol="0">
            <a:spAutoFit/>
          </a:bodyPr>
          <a:lstStyle/>
          <a:p>
            <a:pPr algn="ctr" defTabSz="914377">
              <a:defRPr/>
            </a:pPr>
            <a:r>
              <a:rPr lang="sv-SE" b="1" dirty="0">
                <a:solidFill>
                  <a:prstClr val="black"/>
                </a:solidFill>
                <a:latin typeface="HelveticaNeueLT Std"/>
              </a:rPr>
              <a:t>3Världen</a:t>
            </a:r>
          </a:p>
        </p:txBody>
      </p:sp>
      <p:pic>
        <p:nvPicPr>
          <p:cNvPr id="26" name="Platshållare för bild 25" descr="Man i kostym i taxi på baksidan, håller en mobiltelefon mot öra, tittar ut genom fönstret och ler">
            <a:extLst>
              <a:ext uri="{FF2B5EF4-FFF2-40B4-BE49-F238E27FC236}">
                <a16:creationId xmlns:a16="http://schemas.microsoft.com/office/drawing/2014/main" id="{09DCAF72-D963-AF66-3FF9-9733FED01A90}"/>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45" r="25245"/>
          <a:stretch>
            <a:fillRect/>
          </a:stretch>
        </p:blipFill>
        <p:spPr/>
      </p:pic>
    </p:spTree>
    <p:extLst>
      <p:ext uri="{BB962C8B-B14F-4D97-AF65-F5344CB8AC3E}">
        <p14:creationId xmlns:p14="http://schemas.microsoft.com/office/powerpoint/2010/main" val="1134049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5A3D3D1-56A6-1E01-E4EF-B64CCE27466E}"/>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508" imgH="5508" progId="TCLayout.ActiveDocument.1">
                  <p:embed/>
                </p:oleObj>
              </mc:Choice>
              <mc:Fallback>
                <p:oleObj name="think-cell Slide" r:id="rId3" imgW="5508" imgH="5508" progId="TCLayout.ActiveDocument.1">
                  <p:embed/>
                  <p:pic>
                    <p:nvPicPr>
                      <p:cNvPr id="2" name="think-cell data - do not delete" hidden="1">
                        <a:extLst>
                          <a:ext uri="{FF2B5EF4-FFF2-40B4-BE49-F238E27FC236}">
                            <a16:creationId xmlns:a16="http://schemas.microsoft.com/office/drawing/2014/main" id="{B5A3D3D1-56A6-1E01-E4EF-B64CCE27466E}"/>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3" name="Rectangle 32">
            <a:extLst>
              <a:ext uri="{FF2B5EF4-FFF2-40B4-BE49-F238E27FC236}">
                <a16:creationId xmlns:a16="http://schemas.microsoft.com/office/drawing/2014/main" id="{2DB338DE-782A-0E2B-EB71-989F9DC5349B}"/>
              </a:ext>
            </a:extLst>
          </p:cNvPr>
          <p:cNvSpPr/>
          <p:nvPr/>
        </p:nvSpPr>
        <p:spPr>
          <a:xfrm>
            <a:off x="11231081" y="5651165"/>
            <a:ext cx="725558" cy="1003855"/>
          </a:xfrm>
          <a:prstGeom prst="rect">
            <a:avLst/>
          </a:prstGeom>
          <a:solidFill>
            <a:srgbClr val="FFFFFF"/>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sv-SE" sz="1800" b="0" i="0" u="none" strike="noStrike" kern="1200" cap="none" spc="0" baseline="0">
              <a:solidFill>
                <a:srgbClr val="000000"/>
              </a:solidFill>
              <a:uFillTx/>
              <a:latin typeface="HelveticaNeueLT Std"/>
            </a:endParaRPr>
          </a:p>
        </p:txBody>
      </p:sp>
      <p:sp>
        <p:nvSpPr>
          <p:cNvPr id="4" name="Rectangle: Rounded Corners 14">
            <a:extLst>
              <a:ext uri="{FF2B5EF4-FFF2-40B4-BE49-F238E27FC236}">
                <a16:creationId xmlns:a16="http://schemas.microsoft.com/office/drawing/2014/main" id="{F0DB2D2B-23CE-2838-F55B-20B362B09194}"/>
              </a:ext>
            </a:extLst>
          </p:cNvPr>
          <p:cNvSpPr/>
          <p:nvPr/>
        </p:nvSpPr>
        <p:spPr>
          <a:xfrm>
            <a:off x="556595"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Obegränsad RAM</a:t>
            </a:r>
          </a:p>
        </p:txBody>
      </p:sp>
      <p:sp>
        <p:nvSpPr>
          <p:cNvPr id="5" name="Rectangle: Rounded Corners 16">
            <a:extLst>
              <a:ext uri="{FF2B5EF4-FFF2-40B4-BE49-F238E27FC236}">
                <a16:creationId xmlns:a16="http://schemas.microsoft.com/office/drawing/2014/main" id="{01A24878-7A53-83ED-286D-1E248C727369}"/>
              </a:ext>
            </a:extLst>
          </p:cNvPr>
          <p:cNvSpPr/>
          <p:nvPr/>
        </p:nvSpPr>
        <p:spPr>
          <a:xfrm>
            <a:off x="2410230"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50GB RAM</a:t>
            </a:r>
          </a:p>
        </p:txBody>
      </p:sp>
      <p:sp>
        <p:nvSpPr>
          <p:cNvPr id="6" name="Rectangle 18">
            <a:extLst>
              <a:ext uri="{FF2B5EF4-FFF2-40B4-BE49-F238E27FC236}">
                <a16:creationId xmlns:a16="http://schemas.microsoft.com/office/drawing/2014/main" id="{EC54EC3D-C23D-67D4-3179-9710D5BA87B0}"/>
              </a:ext>
            </a:extLst>
          </p:cNvPr>
          <p:cNvSpPr/>
          <p:nvPr/>
        </p:nvSpPr>
        <p:spPr>
          <a:xfrm>
            <a:off x="556595" y="1391479"/>
            <a:ext cx="11068171" cy="367744"/>
          </a:xfrm>
          <a:prstGeom prst="rect">
            <a:avLst/>
          </a:prstGeom>
          <a:solidFill>
            <a:srgbClr val="FFB000"/>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BTL</a:t>
            </a:r>
          </a:p>
        </p:txBody>
      </p:sp>
      <p:sp>
        <p:nvSpPr>
          <p:cNvPr id="7" name="Rectangle: Rounded Corners 17">
            <a:extLst>
              <a:ext uri="{FF2B5EF4-FFF2-40B4-BE49-F238E27FC236}">
                <a16:creationId xmlns:a16="http://schemas.microsoft.com/office/drawing/2014/main" id="{C54DAE8A-86E3-580C-512A-C765EFE6C3CD}"/>
              </a:ext>
            </a:extLst>
          </p:cNvPr>
          <p:cNvSpPr/>
          <p:nvPr/>
        </p:nvSpPr>
        <p:spPr>
          <a:xfrm>
            <a:off x="4263865"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15GB RAM</a:t>
            </a:r>
          </a:p>
        </p:txBody>
      </p:sp>
      <p:sp>
        <p:nvSpPr>
          <p:cNvPr id="8" name="Rectangle: Rounded Corners 22">
            <a:extLst>
              <a:ext uri="{FF2B5EF4-FFF2-40B4-BE49-F238E27FC236}">
                <a16:creationId xmlns:a16="http://schemas.microsoft.com/office/drawing/2014/main" id="{9EA0E97C-CEE5-BECD-9F02-DED5A64A572B}"/>
              </a:ext>
            </a:extLst>
          </p:cNvPr>
          <p:cNvSpPr/>
          <p:nvPr/>
        </p:nvSpPr>
        <p:spPr>
          <a:xfrm>
            <a:off x="6117500"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6GB RAM</a:t>
            </a:r>
          </a:p>
        </p:txBody>
      </p:sp>
      <p:sp>
        <p:nvSpPr>
          <p:cNvPr id="9" name="Rectangle 23">
            <a:extLst>
              <a:ext uri="{FF2B5EF4-FFF2-40B4-BE49-F238E27FC236}">
                <a16:creationId xmlns:a16="http://schemas.microsoft.com/office/drawing/2014/main" id="{1AA901F9-DC9C-A402-78FD-94A68512A247}"/>
              </a:ext>
            </a:extLst>
          </p:cNvPr>
          <p:cNvSpPr/>
          <p:nvPr/>
        </p:nvSpPr>
        <p:spPr>
          <a:xfrm>
            <a:off x="556595" y="3720647"/>
            <a:ext cx="179503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Obegränsad surf</a:t>
            </a:r>
          </a:p>
        </p:txBody>
      </p:sp>
      <p:sp>
        <p:nvSpPr>
          <p:cNvPr id="10" name="Rectangle 25">
            <a:extLst>
              <a:ext uri="{FF2B5EF4-FFF2-40B4-BE49-F238E27FC236}">
                <a16:creationId xmlns:a16="http://schemas.microsoft.com/office/drawing/2014/main" id="{C50B499B-10F7-8AFD-398D-4D87D1F7F856}"/>
              </a:ext>
            </a:extLst>
          </p:cNvPr>
          <p:cNvSpPr/>
          <p:nvPr/>
        </p:nvSpPr>
        <p:spPr>
          <a:xfrm>
            <a:off x="556595" y="3127183"/>
            <a:ext cx="921454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000000"/>
                </a:solidFill>
                <a:uFillTx/>
                <a:latin typeface="HelveticaNeueLT Std"/>
              </a:rPr>
              <a:t>Fria samtal och SMS inom Sverige</a:t>
            </a:r>
          </a:p>
        </p:txBody>
      </p:sp>
      <p:sp>
        <p:nvSpPr>
          <p:cNvPr id="11" name="Rectangle 27">
            <a:extLst>
              <a:ext uri="{FF2B5EF4-FFF2-40B4-BE49-F238E27FC236}">
                <a16:creationId xmlns:a16="http://schemas.microsoft.com/office/drawing/2014/main" id="{0A6730D7-0E35-48FE-5CF7-504D98B5D134}"/>
              </a:ext>
            </a:extLst>
          </p:cNvPr>
          <p:cNvSpPr/>
          <p:nvPr/>
        </p:nvSpPr>
        <p:spPr>
          <a:xfrm>
            <a:off x="2410230" y="4314120"/>
            <a:ext cx="5507266"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000000"/>
                </a:solidFill>
                <a:uFillTx/>
                <a:latin typeface="HelveticaNeueLT Std"/>
              </a:rPr>
              <a:t>5G – 100 Mbit/s</a:t>
            </a:r>
          </a:p>
        </p:txBody>
      </p:sp>
      <p:sp>
        <p:nvSpPr>
          <p:cNvPr id="12" name="Rectangle 33">
            <a:extLst>
              <a:ext uri="{FF2B5EF4-FFF2-40B4-BE49-F238E27FC236}">
                <a16:creationId xmlns:a16="http://schemas.microsoft.com/office/drawing/2014/main" id="{0106411C-B25F-BB05-D36B-03ED75F9C759}"/>
              </a:ext>
            </a:extLst>
          </p:cNvPr>
          <p:cNvSpPr/>
          <p:nvPr/>
        </p:nvSpPr>
        <p:spPr>
          <a:xfrm>
            <a:off x="551620" y="4903058"/>
            <a:ext cx="1788676"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3Världen Företag</a:t>
            </a:r>
          </a:p>
        </p:txBody>
      </p:sp>
      <p:sp>
        <p:nvSpPr>
          <p:cNvPr id="13" name="Rectangle 34">
            <a:extLst>
              <a:ext uri="{FF2B5EF4-FFF2-40B4-BE49-F238E27FC236}">
                <a16:creationId xmlns:a16="http://schemas.microsoft.com/office/drawing/2014/main" id="{98D1FDAE-A7E8-6149-283B-87C49ECDCACD}"/>
              </a:ext>
            </a:extLst>
          </p:cNvPr>
          <p:cNvSpPr/>
          <p:nvPr/>
        </p:nvSpPr>
        <p:spPr>
          <a:xfrm>
            <a:off x="556595" y="5459123"/>
            <a:ext cx="1795031" cy="505105"/>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100" b="0" i="0" u="none" strike="noStrike" kern="1200" cap="none" spc="0" baseline="0">
                <a:solidFill>
                  <a:srgbClr val="000000"/>
                </a:solidFill>
                <a:uFillTx/>
                <a:latin typeface="HelveticaNeueLT Std"/>
              </a:rPr>
              <a:t>Datakort 69 kr/mån</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100" b="0" i="0" u="none" strike="noStrike" kern="1200" cap="none" spc="0" baseline="0">
                <a:solidFill>
                  <a:srgbClr val="000000"/>
                </a:solidFill>
                <a:uFillTx/>
                <a:latin typeface="HelveticaNeueLT Std"/>
              </a:rPr>
              <a:t>Går ej rabattera – 100GB EU , 5GB i 3Världen.</a:t>
            </a:r>
          </a:p>
        </p:txBody>
      </p:sp>
      <p:sp>
        <p:nvSpPr>
          <p:cNvPr id="14" name="TextBox 46">
            <a:extLst>
              <a:ext uri="{FF2B5EF4-FFF2-40B4-BE49-F238E27FC236}">
                <a16:creationId xmlns:a16="http://schemas.microsoft.com/office/drawing/2014/main" id="{009A091B-3E97-1424-95A0-6ED4A519EA32}"/>
              </a:ext>
            </a:extLst>
          </p:cNvPr>
          <p:cNvSpPr txBox="1"/>
          <p:nvPr/>
        </p:nvSpPr>
        <p:spPr>
          <a:xfrm>
            <a:off x="556595"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249 kr</a:t>
            </a:r>
            <a:endParaRPr lang="sv-SE" sz="1600" b="0" i="0" u="none" strike="noStrike" kern="1200" cap="none" spc="0" baseline="0">
              <a:solidFill>
                <a:srgbClr val="000000"/>
              </a:solidFill>
              <a:uFillTx/>
              <a:latin typeface="HelveticaNeueLT Std"/>
            </a:endParaRPr>
          </a:p>
        </p:txBody>
      </p:sp>
      <p:sp>
        <p:nvSpPr>
          <p:cNvPr id="15" name="Title 4">
            <a:extLst>
              <a:ext uri="{FF2B5EF4-FFF2-40B4-BE49-F238E27FC236}">
                <a16:creationId xmlns:a16="http://schemas.microsoft.com/office/drawing/2014/main" id="{BA16F6E2-7561-64F0-7308-232A4F9237E2}"/>
              </a:ext>
            </a:extLst>
          </p:cNvPr>
          <p:cNvSpPr txBox="1">
            <a:spLocks noGrp="1"/>
          </p:cNvSpPr>
          <p:nvPr>
            <p:ph type="title"/>
          </p:nvPr>
        </p:nvSpPr>
        <p:spPr>
          <a:xfrm>
            <a:off x="924339" y="519086"/>
            <a:ext cx="10585451" cy="900107"/>
          </a:xfrm>
          <a:prstGeom prst="rect">
            <a:avLst/>
          </a:prstGeom>
          <a:noFill/>
          <a:ln>
            <a:noFill/>
          </a:ln>
        </p:spPr>
        <p:txBody>
          <a:bodyPr vert="horz" wrap="square" lIns="0" tIns="0" rIns="0" bIns="0" anchor="t" anchorCtr="0" compatLnSpc="1">
            <a:noAutofit/>
          </a:bodyPr>
          <a:lstStyle/>
          <a:p>
            <a:pPr lvl="0"/>
            <a:r>
              <a:rPr lang="sv-SE" sz="4000"/>
              <a:t>Översikt ramavtalsportföljen</a:t>
            </a:r>
          </a:p>
        </p:txBody>
      </p:sp>
      <p:sp>
        <p:nvSpPr>
          <p:cNvPr id="16" name="Rectangle: Rounded Corners 6">
            <a:extLst>
              <a:ext uri="{FF2B5EF4-FFF2-40B4-BE49-F238E27FC236}">
                <a16:creationId xmlns:a16="http://schemas.microsoft.com/office/drawing/2014/main" id="{BC65E20D-BEE3-63AC-61AB-ECE5519DEC7C}"/>
              </a:ext>
            </a:extLst>
          </p:cNvPr>
          <p:cNvSpPr/>
          <p:nvPr/>
        </p:nvSpPr>
        <p:spPr>
          <a:xfrm>
            <a:off x="7971135"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1GB RAM</a:t>
            </a:r>
          </a:p>
        </p:txBody>
      </p:sp>
      <p:sp>
        <p:nvSpPr>
          <p:cNvPr id="17" name="Rectangle 7">
            <a:extLst>
              <a:ext uri="{FF2B5EF4-FFF2-40B4-BE49-F238E27FC236}">
                <a16:creationId xmlns:a16="http://schemas.microsoft.com/office/drawing/2014/main" id="{0A4EADB6-D55C-870D-D414-591579EE47E8}"/>
              </a:ext>
            </a:extLst>
          </p:cNvPr>
          <p:cNvSpPr/>
          <p:nvPr/>
        </p:nvSpPr>
        <p:spPr>
          <a:xfrm>
            <a:off x="551620" y="4314120"/>
            <a:ext cx="1799996"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5G – 1000 Mbit/s</a:t>
            </a:r>
          </a:p>
        </p:txBody>
      </p:sp>
      <p:sp>
        <p:nvSpPr>
          <p:cNvPr id="18" name="Rectangle 10">
            <a:extLst>
              <a:ext uri="{FF2B5EF4-FFF2-40B4-BE49-F238E27FC236}">
                <a16:creationId xmlns:a16="http://schemas.microsoft.com/office/drawing/2014/main" id="{DBD33175-99C9-BE75-4E31-7FB43D49B610}"/>
              </a:ext>
            </a:extLst>
          </p:cNvPr>
          <p:cNvSpPr/>
          <p:nvPr/>
        </p:nvSpPr>
        <p:spPr>
          <a:xfrm>
            <a:off x="2410230" y="3720647"/>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50GB Data</a:t>
            </a:r>
          </a:p>
        </p:txBody>
      </p:sp>
      <p:sp>
        <p:nvSpPr>
          <p:cNvPr id="19" name="Rectangle 11">
            <a:extLst>
              <a:ext uri="{FF2B5EF4-FFF2-40B4-BE49-F238E27FC236}">
                <a16:creationId xmlns:a16="http://schemas.microsoft.com/office/drawing/2014/main" id="{BAA22621-9EAF-EB31-3562-FF0BFED28D51}"/>
              </a:ext>
            </a:extLst>
          </p:cNvPr>
          <p:cNvSpPr/>
          <p:nvPr/>
        </p:nvSpPr>
        <p:spPr>
          <a:xfrm>
            <a:off x="6128135" y="3717118"/>
            <a:ext cx="178936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6GB Data</a:t>
            </a:r>
          </a:p>
        </p:txBody>
      </p:sp>
      <p:sp>
        <p:nvSpPr>
          <p:cNvPr id="20" name="Rectangle 12">
            <a:extLst>
              <a:ext uri="{FF2B5EF4-FFF2-40B4-BE49-F238E27FC236}">
                <a16:creationId xmlns:a16="http://schemas.microsoft.com/office/drawing/2014/main" id="{CE653A5F-2034-FD38-05D5-EF4830279260}"/>
              </a:ext>
            </a:extLst>
          </p:cNvPr>
          <p:cNvSpPr/>
          <p:nvPr/>
        </p:nvSpPr>
        <p:spPr>
          <a:xfrm>
            <a:off x="7981770" y="3719578"/>
            <a:ext cx="178936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1GB Data</a:t>
            </a:r>
          </a:p>
        </p:txBody>
      </p:sp>
      <p:sp>
        <p:nvSpPr>
          <p:cNvPr id="21" name="Rectangle 13">
            <a:extLst>
              <a:ext uri="{FF2B5EF4-FFF2-40B4-BE49-F238E27FC236}">
                <a16:creationId xmlns:a16="http://schemas.microsoft.com/office/drawing/2014/main" id="{B4A599BE-2D25-C32E-8150-168B038826B9}"/>
              </a:ext>
            </a:extLst>
          </p:cNvPr>
          <p:cNvSpPr/>
          <p:nvPr/>
        </p:nvSpPr>
        <p:spPr>
          <a:xfrm>
            <a:off x="7981770" y="4314120"/>
            <a:ext cx="3642997"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5G – 50Mbit/s</a:t>
            </a:r>
          </a:p>
        </p:txBody>
      </p:sp>
      <p:sp>
        <p:nvSpPr>
          <p:cNvPr id="22" name="Rectangle: Rounded Corners 20">
            <a:extLst>
              <a:ext uri="{FF2B5EF4-FFF2-40B4-BE49-F238E27FC236}">
                <a16:creationId xmlns:a16="http://schemas.microsoft.com/office/drawing/2014/main" id="{0E7E0908-1FB2-0496-6BD9-4F035B17FA16}"/>
              </a:ext>
            </a:extLst>
          </p:cNvPr>
          <p:cNvSpPr/>
          <p:nvPr/>
        </p:nvSpPr>
        <p:spPr>
          <a:xfrm>
            <a:off x="9824770" y="1933160"/>
            <a:ext cx="1799996"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Rörlig RAM</a:t>
            </a:r>
          </a:p>
        </p:txBody>
      </p:sp>
      <p:sp>
        <p:nvSpPr>
          <p:cNvPr id="23" name="TextBox 24">
            <a:extLst>
              <a:ext uri="{FF2B5EF4-FFF2-40B4-BE49-F238E27FC236}">
                <a16:creationId xmlns:a16="http://schemas.microsoft.com/office/drawing/2014/main" id="{FFDEADD4-ED6F-212F-E0BC-CBAE65FF7C1A}"/>
              </a:ext>
            </a:extLst>
          </p:cNvPr>
          <p:cNvSpPr txBox="1"/>
          <p:nvPr/>
        </p:nvSpPr>
        <p:spPr>
          <a:xfrm>
            <a:off x="2410230"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199 kr</a:t>
            </a:r>
            <a:endParaRPr lang="sv-SE" sz="1600" b="0" i="0" u="none" strike="noStrike" kern="1200" cap="none" spc="0" baseline="0">
              <a:solidFill>
                <a:srgbClr val="000000"/>
              </a:solidFill>
              <a:uFillTx/>
              <a:latin typeface="HelveticaNeueLT Std"/>
            </a:endParaRPr>
          </a:p>
        </p:txBody>
      </p:sp>
      <p:sp>
        <p:nvSpPr>
          <p:cNvPr id="24" name="TextBox 26">
            <a:extLst>
              <a:ext uri="{FF2B5EF4-FFF2-40B4-BE49-F238E27FC236}">
                <a16:creationId xmlns:a16="http://schemas.microsoft.com/office/drawing/2014/main" id="{9566EE2C-4594-8F47-D545-876FB99CCF90}"/>
              </a:ext>
            </a:extLst>
          </p:cNvPr>
          <p:cNvSpPr txBox="1"/>
          <p:nvPr/>
        </p:nvSpPr>
        <p:spPr>
          <a:xfrm>
            <a:off x="4263865"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169 kr</a:t>
            </a:r>
            <a:endParaRPr lang="sv-SE" sz="1600" b="0" i="0" u="none" strike="noStrike" kern="1200" cap="none" spc="0" baseline="0">
              <a:solidFill>
                <a:srgbClr val="000000"/>
              </a:solidFill>
              <a:uFillTx/>
              <a:latin typeface="HelveticaNeueLT Std"/>
            </a:endParaRPr>
          </a:p>
        </p:txBody>
      </p:sp>
      <p:sp>
        <p:nvSpPr>
          <p:cNvPr id="25" name="TextBox 29">
            <a:extLst>
              <a:ext uri="{FF2B5EF4-FFF2-40B4-BE49-F238E27FC236}">
                <a16:creationId xmlns:a16="http://schemas.microsoft.com/office/drawing/2014/main" id="{F71D607A-70C7-F05A-527C-15E8467CFE5E}"/>
              </a:ext>
            </a:extLst>
          </p:cNvPr>
          <p:cNvSpPr txBox="1"/>
          <p:nvPr/>
        </p:nvSpPr>
        <p:spPr>
          <a:xfrm>
            <a:off x="6128135"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149 kr</a:t>
            </a:r>
            <a:endParaRPr lang="sv-SE" sz="1600" b="0" i="0" u="none" strike="noStrike" kern="1200" cap="none" spc="0" baseline="0">
              <a:solidFill>
                <a:srgbClr val="000000"/>
              </a:solidFill>
              <a:uFillTx/>
              <a:latin typeface="HelveticaNeueLT Std"/>
            </a:endParaRPr>
          </a:p>
        </p:txBody>
      </p:sp>
      <p:sp>
        <p:nvSpPr>
          <p:cNvPr id="26" name="TextBox 36">
            <a:extLst>
              <a:ext uri="{FF2B5EF4-FFF2-40B4-BE49-F238E27FC236}">
                <a16:creationId xmlns:a16="http://schemas.microsoft.com/office/drawing/2014/main" id="{227854BC-17D3-24F3-1142-F311C9F04322}"/>
              </a:ext>
            </a:extLst>
          </p:cNvPr>
          <p:cNvSpPr txBox="1"/>
          <p:nvPr/>
        </p:nvSpPr>
        <p:spPr>
          <a:xfrm>
            <a:off x="7981770"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99 kr</a:t>
            </a:r>
            <a:endParaRPr lang="sv-SE" sz="1600" b="0" i="0" u="none" strike="noStrike" kern="1200" cap="none" spc="0" baseline="0">
              <a:solidFill>
                <a:srgbClr val="000000"/>
              </a:solidFill>
              <a:uFillTx/>
              <a:latin typeface="HelveticaNeueLT Std"/>
            </a:endParaRPr>
          </a:p>
        </p:txBody>
      </p:sp>
      <p:sp>
        <p:nvSpPr>
          <p:cNvPr id="27" name="TextBox 37">
            <a:extLst>
              <a:ext uri="{FF2B5EF4-FFF2-40B4-BE49-F238E27FC236}">
                <a16:creationId xmlns:a16="http://schemas.microsoft.com/office/drawing/2014/main" id="{BFF1F5F2-C27B-DCBF-1E22-094F127C9101}"/>
              </a:ext>
            </a:extLst>
          </p:cNvPr>
          <p:cNvSpPr txBox="1"/>
          <p:nvPr/>
        </p:nvSpPr>
        <p:spPr>
          <a:xfrm>
            <a:off x="9824770" y="2673623"/>
            <a:ext cx="1800005" cy="33855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1" i="0" u="none" strike="noStrike" kern="1200" cap="none" spc="0" baseline="0">
                <a:solidFill>
                  <a:srgbClr val="000000"/>
                </a:solidFill>
                <a:uFillTx/>
                <a:latin typeface="HelveticaNeueLT Std"/>
              </a:rPr>
              <a:t>79 kr</a:t>
            </a:r>
            <a:endParaRPr lang="sv-SE" sz="1600" b="0" i="0" u="none" strike="noStrike" kern="1200" cap="none" spc="0" baseline="0">
              <a:solidFill>
                <a:srgbClr val="000000"/>
              </a:solidFill>
              <a:uFillTx/>
              <a:latin typeface="HelveticaNeueLT Std"/>
            </a:endParaRPr>
          </a:p>
        </p:txBody>
      </p:sp>
      <p:sp>
        <p:nvSpPr>
          <p:cNvPr id="28" name="Rectangle 38">
            <a:extLst>
              <a:ext uri="{FF2B5EF4-FFF2-40B4-BE49-F238E27FC236}">
                <a16:creationId xmlns:a16="http://schemas.microsoft.com/office/drawing/2014/main" id="{736CACAD-7255-D92B-94D3-EB574150B1C9}"/>
              </a:ext>
            </a:extLst>
          </p:cNvPr>
          <p:cNvSpPr/>
          <p:nvPr/>
        </p:nvSpPr>
        <p:spPr>
          <a:xfrm>
            <a:off x="4263865" y="3720647"/>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15GB Data</a:t>
            </a:r>
          </a:p>
        </p:txBody>
      </p:sp>
      <p:sp>
        <p:nvSpPr>
          <p:cNvPr id="29" name="Rectangle 39">
            <a:extLst>
              <a:ext uri="{FF2B5EF4-FFF2-40B4-BE49-F238E27FC236}">
                <a16:creationId xmlns:a16="http://schemas.microsoft.com/office/drawing/2014/main" id="{D81F18AD-8703-7C61-6505-D61E204D1171}"/>
              </a:ext>
            </a:extLst>
          </p:cNvPr>
          <p:cNvSpPr/>
          <p:nvPr/>
        </p:nvSpPr>
        <p:spPr>
          <a:xfrm>
            <a:off x="9824770" y="3719578"/>
            <a:ext cx="178936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8 kr/MB</a:t>
            </a:r>
          </a:p>
        </p:txBody>
      </p:sp>
      <p:sp>
        <p:nvSpPr>
          <p:cNvPr id="30" name="Rectangle 40">
            <a:extLst>
              <a:ext uri="{FF2B5EF4-FFF2-40B4-BE49-F238E27FC236}">
                <a16:creationId xmlns:a16="http://schemas.microsoft.com/office/drawing/2014/main" id="{74FC3EFC-4C89-0E17-11E6-610DAF156B5D}"/>
              </a:ext>
            </a:extLst>
          </p:cNvPr>
          <p:cNvSpPr/>
          <p:nvPr/>
        </p:nvSpPr>
        <p:spPr>
          <a:xfrm>
            <a:off x="2410230" y="4903058"/>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50GB EU surf</a:t>
            </a:r>
          </a:p>
        </p:txBody>
      </p:sp>
      <p:sp>
        <p:nvSpPr>
          <p:cNvPr id="31" name="Rectangle 42">
            <a:extLst>
              <a:ext uri="{FF2B5EF4-FFF2-40B4-BE49-F238E27FC236}">
                <a16:creationId xmlns:a16="http://schemas.microsoft.com/office/drawing/2014/main" id="{A675B373-5C75-F27E-C764-964F2F82DC3B}"/>
              </a:ext>
            </a:extLst>
          </p:cNvPr>
          <p:cNvSpPr/>
          <p:nvPr/>
        </p:nvSpPr>
        <p:spPr>
          <a:xfrm>
            <a:off x="4263856" y="4903058"/>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15GB EU surf</a:t>
            </a:r>
          </a:p>
        </p:txBody>
      </p:sp>
      <p:sp>
        <p:nvSpPr>
          <p:cNvPr id="32" name="Rectangle 43">
            <a:extLst>
              <a:ext uri="{FF2B5EF4-FFF2-40B4-BE49-F238E27FC236}">
                <a16:creationId xmlns:a16="http://schemas.microsoft.com/office/drawing/2014/main" id="{C02421E5-D842-6DEF-94BD-18C81AEBD176}"/>
              </a:ext>
            </a:extLst>
          </p:cNvPr>
          <p:cNvSpPr/>
          <p:nvPr/>
        </p:nvSpPr>
        <p:spPr>
          <a:xfrm>
            <a:off x="6117500" y="4903058"/>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6GB EU surf</a:t>
            </a:r>
          </a:p>
        </p:txBody>
      </p:sp>
      <p:sp>
        <p:nvSpPr>
          <p:cNvPr id="33" name="Rectangle 44">
            <a:extLst>
              <a:ext uri="{FF2B5EF4-FFF2-40B4-BE49-F238E27FC236}">
                <a16:creationId xmlns:a16="http://schemas.microsoft.com/office/drawing/2014/main" id="{7ED43F79-BDDA-787E-5F31-0F70B19A713D}"/>
              </a:ext>
            </a:extLst>
          </p:cNvPr>
          <p:cNvSpPr/>
          <p:nvPr/>
        </p:nvSpPr>
        <p:spPr>
          <a:xfrm>
            <a:off x="7971135" y="4903058"/>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1GB EU surf</a:t>
            </a:r>
          </a:p>
        </p:txBody>
      </p:sp>
      <p:sp>
        <p:nvSpPr>
          <p:cNvPr id="34" name="Rectangle 45">
            <a:extLst>
              <a:ext uri="{FF2B5EF4-FFF2-40B4-BE49-F238E27FC236}">
                <a16:creationId xmlns:a16="http://schemas.microsoft.com/office/drawing/2014/main" id="{182B7D9B-A5ED-5C7E-07BB-7DBF32CFFDA4}"/>
              </a:ext>
            </a:extLst>
          </p:cNvPr>
          <p:cNvSpPr/>
          <p:nvPr/>
        </p:nvSpPr>
        <p:spPr>
          <a:xfrm>
            <a:off x="9824770" y="4903058"/>
            <a:ext cx="1800005"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000000"/>
                </a:solidFill>
                <a:uFillTx/>
                <a:latin typeface="HelveticaNeueLT Std"/>
              </a:rPr>
              <a:t>Ingår ej</a:t>
            </a:r>
          </a:p>
        </p:txBody>
      </p:sp>
      <p:sp>
        <p:nvSpPr>
          <p:cNvPr id="35" name="Rectangle 49">
            <a:extLst>
              <a:ext uri="{FF2B5EF4-FFF2-40B4-BE49-F238E27FC236}">
                <a16:creationId xmlns:a16="http://schemas.microsoft.com/office/drawing/2014/main" id="{F26A5DF7-C5C4-B490-1ABE-8EAD86291B36}"/>
              </a:ext>
            </a:extLst>
          </p:cNvPr>
          <p:cNvSpPr/>
          <p:nvPr/>
        </p:nvSpPr>
        <p:spPr>
          <a:xfrm>
            <a:off x="9824770" y="3125035"/>
            <a:ext cx="178936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0,63 kr/SMS</a:t>
            </a:r>
            <a:br>
              <a:rPr lang="sv-SE" sz="1200" b="0" i="0" u="none" strike="noStrike" kern="1200" cap="none" spc="0" baseline="0">
                <a:solidFill>
                  <a:srgbClr val="000000"/>
                </a:solidFill>
                <a:uFillTx/>
                <a:latin typeface="HelveticaNeueLT Std"/>
              </a:rPr>
            </a:br>
            <a:r>
              <a:rPr lang="sv-SE" sz="1200" b="0" i="0" u="none" strike="noStrike" kern="1200" cap="none" spc="0" baseline="0">
                <a:solidFill>
                  <a:srgbClr val="000000"/>
                </a:solidFill>
                <a:uFillTx/>
                <a:latin typeface="HelveticaNeueLT Std"/>
              </a:rPr>
              <a:t>1,63 kr/MMS</a:t>
            </a:r>
          </a:p>
        </p:txBody>
      </p:sp>
      <p:sp>
        <p:nvSpPr>
          <p:cNvPr id="36" name="Rectangle 5">
            <a:extLst>
              <a:ext uri="{FF2B5EF4-FFF2-40B4-BE49-F238E27FC236}">
                <a16:creationId xmlns:a16="http://schemas.microsoft.com/office/drawing/2014/main" id="{F5005125-B2CA-7E87-B907-FA8BA87EA298}"/>
              </a:ext>
            </a:extLst>
          </p:cNvPr>
          <p:cNvSpPr/>
          <p:nvPr/>
        </p:nvSpPr>
        <p:spPr>
          <a:xfrm>
            <a:off x="556595" y="6113541"/>
            <a:ext cx="1795031" cy="436534"/>
          </a:xfrm>
          <a:prstGeom prst="rect">
            <a:avLst/>
          </a:prstGeom>
          <a:solidFill>
            <a:srgbClr val="FFEFCC"/>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100" b="0" i="0" u="none" strike="noStrike" kern="1200" cap="none" spc="0" baseline="0">
                <a:solidFill>
                  <a:srgbClr val="000000"/>
                </a:solidFill>
                <a:uFillTx/>
                <a:latin typeface="HelveticaNeueLT Std"/>
              </a:rPr>
              <a:t>Datakort RAM 49 kr/mån</a:t>
            </a:r>
            <a:br>
              <a:rPr lang="sv-SE" sz="1100" b="0" i="0" u="none" strike="noStrike" kern="1200" cap="none" spc="0" baseline="0">
                <a:solidFill>
                  <a:srgbClr val="000000"/>
                </a:solidFill>
                <a:uFillTx/>
                <a:latin typeface="HelveticaNeueLT Std"/>
              </a:rPr>
            </a:br>
            <a:r>
              <a:rPr lang="sv-SE" sz="1100" b="0" i="0" u="none" strike="noStrike" kern="1200" cap="none" spc="0" baseline="0">
                <a:solidFill>
                  <a:srgbClr val="000000"/>
                </a:solidFill>
                <a:uFillTx/>
                <a:latin typeface="HelveticaNeueLT Std"/>
              </a:rPr>
              <a:t>Går rabattera –- 5GB EU.</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fade">
                                      <p:cBhvr>
                                        <p:cTn id="51" dur="500"/>
                                        <p:tgtEl>
                                          <p:spTgt spid="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fade">
                                      <p:cBhvr>
                                        <p:cTn id="54" dur="500"/>
                                        <p:tgtEl>
                                          <p:spTgt spid="1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fade">
                                      <p:cBhvr>
                                        <p:cTn id="57" dur="500"/>
                                        <p:tgtEl>
                                          <p:spTgt spid="1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500"/>
                                        <p:tgtEl>
                                          <p:spTgt spid="1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500"/>
                                        <p:tgtEl>
                                          <p:spTgt spid="1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500"/>
                                        <p:tgtEl>
                                          <p:spTgt spid="1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1"/>
                                        </p:tgtEl>
                                        <p:attrNameLst>
                                          <p:attrName>style.visibility</p:attrName>
                                        </p:attrNameLst>
                                      </p:cBhvr>
                                      <p:to>
                                        <p:strVal val="visible"/>
                                      </p:to>
                                    </p:set>
                                    <p:animEffect transition="in" filter="fade">
                                      <p:cBhvr>
                                        <p:cTn id="78" dur="500"/>
                                        <p:tgtEl>
                                          <p:spTgt spid="21"/>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500"/>
                                        <p:tgtEl>
                                          <p:spTgt spid="2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500"/>
                                        <p:tgtEl>
                                          <p:spTgt spid="29"/>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500"/>
                                        <p:tgtEl>
                                          <p:spTgt spid="3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fade">
                                      <p:cBhvr>
                                        <p:cTn id="93" dur="500"/>
                                        <p:tgtEl>
                                          <p:spTgt spid="3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3"/>
                                        </p:tgtEl>
                                        <p:attrNameLst>
                                          <p:attrName>style.visibility</p:attrName>
                                        </p:attrNameLst>
                                      </p:cBhvr>
                                      <p:to>
                                        <p:strVal val="visible"/>
                                      </p:to>
                                    </p:set>
                                    <p:animEffect transition="in" filter="fade">
                                      <p:cBhvr>
                                        <p:cTn id="96" dur="500"/>
                                        <p:tgtEl>
                                          <p:spTgt spid="3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500"/>
                                        <p:tgtEl>
                                          <p:spTgt spid="3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5"/>
                                        </p:tgtEl>
                                        <p:attrNameLst>
                                          <p:attrName>style.visibility</p:attrName>
                                        </p:attrNameLst>
                                      </p:cBhvr>
                                      <p:to>
                                        <p:strVal val="visible"/>
                                      </p:to>
                                    </p:set>
                                    <p:animEffect transition="in" filter="fade">
                                      <p:cBhvr>
                                        <p:cTn id="102" dur="500"/>
                                        <p:tgtEl>
                                          <p:spTgt spid="35"/>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6"/>
                                        </p:tgtEl>
                                        <p:attrNameLst>
                                          <p:attrName>style.visibility</p:attrName>
                                        </p:attrNameLst>
                                      </p:cBhvr>
                                      <p:to>
                                        <p:strVal val="visible"/>
                                      </p:to>
                                    </p:set>
                                    <p:animEffect transition="in" filter="fade">
                                      <p:cBhvr>
                                        <p:cTn id="10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6" grpId="0" animBg="1"/>
      <p:bldP spid="17" grpId="0" animBg="1"/>
      <p:bldP spid="18" grpId="0" animBg="1"/>
      <p:bldP spid="19" grpId="0" animBg="1"/>
      <p:bldP spid="20" grpId="0" animBg="1"/>
      <p:bldP spid="21" grpId="0" animBg="1"/>
      <p:bldP spid="22" grpId="0" animBg="1"/>
      <p:bldP spid="23" grpId="0"/>
      <p:bldP spid="24" grpId="0"/>
      <p:bldP spid="25" grpId="0"/>
      <p:bldP spid="26" grpId="0"/>
      <p:bldP spid="27" grpId="0"/>
      <p:bldP spid="28" grpId="0" animBg="1"/>
      <p:bldP spid="29" grpId="0" animBg="1"/>
      <p:bldP spid="30" grpId="0" animBg="1"/>
      <p:bldP spid="31" grpId="0" animBg="1"/>
      <p:bldP spid="32" grpId="0" animBg="1"/>
      <p:bldP spid="33" grpId="0" animBg="1"/>
      <p:bldP spid="34" grpId="0" animBg="1"/>
      <p:bldP spid="35" grpId="0" animBg="1"/>
      <p:bldP spid="3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A22F26F-BA8F-8A99-31A7-B48553FBBFEE}"/>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DA22F26F-BA8F-8A99-31A7-B48553FBBFEE}"/>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11B7972B-1416-2CE0-4F4E-5C6245252838}"/>
              </a:ext>
            </a:extLst>
          </p:cNvPr>
          <p:cNvSpPr txBox="1">
            <a:spLocks noGrp="1"/>
          </p:cNvSpPr>
          <p:nvPr>
            <p:ph type="title"/>
          </p:nvPr>
        </p:nvSpPr>
        <p:spPr>
          <a:xfrm>
            <a:off x="803272" y="1088501"/>
            <a:ext cx="10585451" cy="900107"/>
          </a:xfrm>
          <a:prstGeom prst="rect">
            <a:avLst/>
          </a:prstGeom>
          <a:noFill/>
          <a:ln>
            <a:noFill/>
          </a:ln>
        </p:spPr>
        <p:txBody>
          <a:bodyPr vert="horz" wrap="square" lIns="0" tIns="0" rIns="0" bIns="0" anchor="t" anchorCtr="0" compatLnSpc="1">
            <a:noAutofit/>
          </a:bodyPr>
          <a:lstStyle/>
          <a:p>
            <a:pPr lvl="0"/>
            <a:r>
              <a:rPr lang="sv-SE"/>
              <a:t>Mejl och landningssida</a:t>
            </a:r>
          </a:p>
        </p:txBody>
      </p:sp>
      <p:sp>
        <p:nvSpPr>
          <p:cNvPr id="4" name="Content Placeholder 11">
            <a:extLst>
              <a:ext uri="{FF2B5EF4-FFF2-40B4-BE49-F238E27FC236}">
                <a16:creationId xmlns:a16="http://schemas.microsoft.com/office/drawing/2014/main" id="{9068C2C9-4BF2-8085-5268-F8F2BA8B9013}"/>
              </a:ext>
            </a:extLst>
          </p:cNvPr>
          <p:cNvSpPr txBox="1">
            <a:spLocks noGrp="1"/>
          </p:cNvSpPr>
          <p:nvPr>
            <p:ph type="body" idx="4294967295"/>
          </p:nvPr>
        </p:nvSpPr>
        <p:spPr>
          <a:xfrm>
            <a:off x="413811" y="1959504"/>
            <a:ext cx="3844923" cy="3971925"/>
          </a:xfrm>
        </p:spPr>
        <p:txBody>
          <a:bodyPr/>
          <a:lstStyle/>
          <a:p>
            <a:pPr marL="0" lvl="0" indent="0">
              <a:buNone/>
            </a:pPr>
            <a:r>
              <a:rPr lang="sv-SE" sz="1200" b="1"/>
              <a:t>Budskap</a:t>
            </a:r>
            <a:r>
              <a:rPr lang="sv-SE" sz="1200"/>
              <a:t>​</a:t>
            </a:r>
            <a:endParaRPr lang="sv-SE" sz="1100">
              <a:latin typeface="Segoe UI" pitchFamily="34"/>
            </a:endParaRPr>
          </a:p>
          <a:p>
            <a:pPr lvl="0"/>
            <a:r>
              <a:rPr lang="sv-SE" sz="1200" b="1"/>
              <a:t>Vi byter namn på några av våra abonnemang!</a:t>
            </a:r>
            <a:r>
              <a:rPr lang="en-US" sz="1200"/>
              <a:t>​</a:t>
            </a:r>
            <a:endParaRPr lang="en-US" sz="1100">
              <a:latin typeface="Segoe UI" pitchFamily="34"/>
            </a:endParaRPr>
          </a:p>
          <a:p>
            <a:pPr lvl="0"/>
            <a:r>
              <a:rPr lang="sv-SE" sz="1200"/>
              <a:t>Den 26/8 byter vi namn på några av våra abonnemang. Du får den här informationen eftersom du har ett eller flera abonnemang som berörs. Förändringen innebär inget annat än att namnen ändras. Allt annat är precis som förut. </a:t>
            </a:r>
            <a:r>
              <a:rPr lang="en-US" sz="1200"/>
              <a:t>​</a:t>
            </a:r>
            <a:endParaRPr lang="en-US" sz="1100">
              <a:latin typeface="Segoe UI" pitchFamily="34"/>
            </a:endParaRPr>
          </a:p>
          <a:p>
            <a:pPr marL="0" lvl="0" indent="0">
              <a:buNone/>
            </a:pPr>
            <a:endParaRPr lang="sv-SE" sz="1100">
              <a:latin typeface="Segoe UI" pitchFamily="34"/>
            </a:endParaRPr>
          </a:p>
          <a:p>
            <a:pPr lvl="0"/>
            <a:r>
              <a:rPr lang="sv-SE" sz="1200"/>
              <a:t>Den 26/8 kommer de nya namnen att synas på Mitt3 och senare också på nästa faktura.</a:t>
            </a:r>
            <a:r>
              <a:rPr lang="en-US" sz="1200"/>
              <a:t>​</a:t>
            </a:r>
            <a:endParaRPr lang="sv-SE" sz="1100">
              <a:latin typeface="Segoe UI" pitchFamily="34"/>
            </a:endParaRPr>
          </a:p>
          <a:p>
            <a:pPr lvl="0"/>
            <a:r>
              <a:rPr lang="sv-SE" sz="1200"/>
              <a:t>Läs mer [länk </a:t>
            </a:r>
            <a:r>
              <a:rPr lang="sv-SE" sz="1200" u="sng">
                <a:solidFill>
                  <a:srgbClr val="FA208F"/>
                </a:solidFill>
                <a:hlinkClick r:id="rId4">
                  <a:extLst>
                    <a:ext uri="{A12FA001-AC4F-418D-AE19-62706E023703}">
                      <ahyp:hlinkClr xmlns:ahyp="http://schemas.microsoft.com/office/drawing/2018/hyperlinkcolor" val="tx"/>
                    </a:ext>
                  </a:extLst>
                </a:hlinkClick>
              </a:rPr>
              <a:t>https://www.tre.se/treforetag/ramavtal/namnbyten</a:t>
            </a:r>
            <a:r>
              <a:rPr lang="sv-SE" sz="1200" b="1">
                <a:latin typeface="Aptos" pitchFamily="34"/>
              </a:rPr>
              <a:t>]</a:t>
            </a:r>
            <a:r>
              <a:rPr lang="sv-SE" sz="1200">
                <a:latin typeface="Aptos" pitchFamily="34"/>
              </a:rPr>
              <a:t>​</a:t>
            </a:r>
            <a:endParaRPr lang="sv-SE" sz="1100">
              <a:latin typeface="Segoe UI" pitchFamily="34"/>
            </a:endParaRPr>
          </a:p>
          <a:p>
            <a:pPr lvl="0"/>
            <a:endParaRPr lang="sv-SE" sz="1100"/>
          </a:p>
        </p:txBody>
      </p:sp>
      <p:pic>
        <p:nvPicPr>
          <p:cNvPr id="5" name="Picture 9">
            <a:extLst>
              <a:ext uri="{FF2B5EF4-FFF2-40B4-BE49-F238E27FC236}">
                <a16:creationId xmlns:a16="http://schemas.microsoft.com/office/drawing/2014/main" id="{E8EAB153-49D6-3ACE-8406-CF33525F8689}"/>
              </a:ext>
            </a:extLst>
          </p:cNvPr>
          <p:cNvPicPr>
            <a:picLocks noChangeAspect="1"/>
          </p:cNvPicPr>
          <p:nvPr/>
        </p:nvPicPr>
        <p:blipFill>
          <a:blip r:embed="rId5"/>
          <a:stretch>
            <a:fillRect/>
          </a:stretch>
        </p:blipFill>
        <p:spPr>
          <a:xfrm>
            <a:off x="4944645" y="1988609"/>
            <a:ext cx="7247351" cy="3922940"/>
          </a:xfrm>
          <a:prstGeom prst="rect">
            <a:avLst/>
          </a:prstGeom>
          <a:noFill/>
          <a:ln>
            <a:noFill/>
          </a:ln>
        </p:spPr>
      </p:pic>
      <p:cxnSp>
        <p:nvCxnSpPr>
          <p:cNvPr id="6" name="Straight Arrow Connector 14">
            <a:extLst>
              <a:ext uri="{FF2B5EF4-FFF2-40B4-BE49-F238E27FC236}">
                <a16:creationId xmlns:a16="http://schemas.microsoft.com/office/drawing/2014/main" id="{31B52F6A-0E65-5F97-9271-1E7E52032615}"/>
              </a:ext>
            </a:extLst>
          </p:cNvPr>
          <p:cNvCxnSpPr/>
          <p:nvPr/>
        </p:nvCxnSpPr>
        <p:spPr>
          <a:xfrm>
            <a:off x="4334932" y="4622804"/>
            <a:ext cx="533397" cy="0"/>
          </a:xfrm>
          <a:prstGeom prst="straightConnector1">
            <a:avLst/>
          </a:prstGeom>
          <a:noFill/>
          <a:ln w="12701" cap="flat">
            <a:solidFill>
              <a:srgbClr val="000000"/>
            </a:solidFill>
            <a:prstDash val="solid"/>
            <a:miter/>
            <a:tailEnd type="arrow"/>
          </a:ln>
        </p:spPr>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A6FF9C-78E6-42FA-999B-65FF9B732554}"/>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8AA6FF9C-78E6-42FA-999B-65FF9B732554}"/>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Rubrik 1">
            <a:extLst>
              <a:ext uri="{FF2B5EF4-FFF2-40B4-BE49-F238E27FC236}">
                <a16:creationId xmlns:a16="http://schemas.microsoft.com/office/drawing/2014/main" id="{B70228BE-5A71-D78B-B71A-6EA89E1600F4}"/>
              </a:ext>
            </a:extLst>
          </p:cNvPr>
          <p:cNvSpPr txBox="1">
            <a:spLocks noGrp="1"/>
          </p:cNvSpPr>
          <p:nvPr>
            <p:ph type="title"/>
          </p:nvPr>
        </p:nvSpPr>
        <p:spPr>
          <a:xfrm>
            <a:off x="697440" y="591086"/>
            <a:ext cx="10585451" cy="900107"/>
          </a:xfrm>
          <a:prstGeom prst="rect">
            <a:avLst/>
          </a:prstGeom>
          <a:noFill/>
          <a:ln>
            <a:noFill/>
          </a:ln>
        </p:spPr>
        <p:txBody>
          <a:bodyPr vert="horz" wrap="square" lIns="0" tIns="0" rIns="0" bIns="0" anchor="t" anchorCtr="0" compatLnSpc="1">
            <a:noAutofit/>
          </a:bodyPr>
          <a:lstStyle/>
          <a:p>
            <a:pPr lvl="0"/>
            <a:r>
              <a:rPr lang="sv-SE"/>
              <a:t>FAQ</a:t>
            </a:r>
          </a:p>
        </p:txBody>
      </p:sp>
      <p:sp>
        <p:nvSpPr>
          <p:cNvPr id="4" name="Platshållare för innehåll 2">
            <a:extLst>
              <a:ext uri="{FF2B5EF4-FFF2-40B4-BE49-F238E27FC236}">
                <a16:creationId xmlns:a16="http://schemas.microsoft.com/office/drawing/2014/main" id="{05FF2714-141C-B09D-8F27-D4037BE55F0B}"/>
              </a:ext>
            </a:extLst>
          </p:cNvPr>
          <p:cNvSpPr txBox="1">
            <a:spLocks noGrp="1"/>
          </p:cNvSpPr>
          <p:nvPr>
            <p:ph type="body" idx="4294967295"/>
          </p:nvPr>
        </p:nvSpPr>
        <p:spPr>
          <a:xfrm>
            <a:off x="739777" y="1385361"/>
            <a:ext cx="10333040" cy="4733921"/>
          </a:xfrm>
        </p:spPr>
        <p:txBody>
          <a:bodyPr/>
          <a:lstStyle/>
          <a:p>
            <a:pPr lvl="0">
              <a:spcBef>
                <a:spcPts val="0"/>
              </a:spcBef>
              <a:spcAft>
                <a:spcPts val="0"/>
              </a:spcAft>
            </a:pPr>
            <a:r>
              <a:rPr lang="sv-SE"/>
              <a:t>Hur görs namnändringen?</a:t>
            </a:r>
          </a:p>
          <a:p>
            <a:pPr lvl="1">
              <a:spcAft>
                <a:spcPts val="0"/>
              </a:spcAft>
            </a:pPr>
            <a:r>
              <a:rPr lang="sv-SE"/>
              <a:t>Vi byter namn på det existerande abonnemanget. Det gör att alla rättigheter och alla rabatter förblir de samma</a:t>
            </a:r>
          </a:p>
          <a:p>
            <a:pPr lvl="0">
              <a:spcAft>
                <a:spcPts val="0"/>
              </a:spcAft>
            </a:pPr>
            <a:r>
              <a:rPr lang="sv-SE"/>
              <a:t>Uppdateras PIM när vi ändrar namn</a:t>
            </a:r>
          </a:p>
          <a:p>
            <a:pPr lvl="1">
              <a:spcAft>
                <a:spcPts val="0"/>
              </a:spcAft>
            </a:pPr>
            <a:r>
              <a:rPr lang="sv-SE"/>
              <a:t>Ja</a:t>
            </a:r>
          </a:p>
          <a:p>
            <a:pPr lvl="0">
              <a:spcAft>
                <a:spcPts val="0"/>
              </a:spcAft>
            </a:pPr>
            <a:r>
              <a:rPr lang="sv-SE"/>
              <a:t>Kommer Tre.se och SIW uppdateras</a:t>
            </a:r>
          </a:p>
          <a:p>
            <a:pPr lvl="1">
              <a:spcAft>
                <a:spcPts val="0"/>
              </a:spcAft>
            </a:pPr>
            <a:r>
              <a:rPr lang="sv-SE"/>
              <a:t>Ja. Genom att vi ändrar PIM så kommer allt som hämtas automatiskt från abonnemanget att uppdateras</a:t>
            </a:r>
          </a:p>
          <a:p>
            <a:pPr lvl="1">
              <a:spcAft>
                <a:spcPts val="0"/>
              </a:spcAft>
            </a:pPr>
            <a:r>
              <a:rPr lang="sv-SE"/>
              <a:t>Alla ställen där namnen står manuellt kommer att uppdateras av SIW respektive redaktionen för tre.se</a:t>
            </a:r>
          </a:p>
          <a:p>
            <a:pPr lvl="0">
              <a:spcAft>
                <a:spcPts val="0"/>
              </a:spcAft>
            </a:pPr>
            <a:r>
              <a:rPr lang="sv-SE"/>
              <a:t>Hur blir det på kundens faktura?</a:t>
            </a:r>
          </a:p>
          <a:p>
            <a:pPr lvl="1">
              <a:spcAft>
                <a:spcPts val="0"/>
              </a:spcAft>
            </a:pPr>
            <a:r>
              <a:rPr lang="sv-SE"/>
              <a:t>Det blir 1 rad med abonnemanget med det nya namnet.</a:t>
            </a:r>
          </a:p>
          <a:p>
            <a:pPr lvl="0">
              <a:spcAft>
                <a:spcPts val="0"/>
              </a:spcAft>
            </a:pPr>
            <a:r>
              <a:rPr lang="sv-SE"/>
              <a:t>Kommer någon kund ha kvar det gamla namnet efter ändringen?</a:t>
            </a:r>
          </a:p>
          <a:p>
            <a:pPr lvl="1">
              <a:spcAft>
                <a:spcPts val="0"/>
              </a:spcAft>
            </a:pPr>
            <a:r>
              <a:rPr lang="sv-SE"/>
              <a:t>Nej. Alla kunder får nya namn</a:t>
            </a:r>
          </a:p>
          <a:p>
            <a:pPr lvl="0">
              <a:spcAft>
                <a:spcPts val="0"/>
              </a:spcAft>
            </a:pPr>
            <a:r>
              <a:rPr lang="sv-SE"/>
              <a:t>Alla kunder som har 3Företag inkl. 3Världen är inte ramavtalskunder – vad händer med dom? </a:t>
            </a:r>
          </a:p>
          <a:p>
            <a:pPr lvl="1">
              <a:spcAft>
                <a:spcPts val="0"/>
              </a:spcAft>
            </a:pPr>
            <a:r>
              <a:rPr lang="sv-SE"/>
              <a:t>Dom kunder kommer också få samma namn. Vi har en FAQ-frågan där vi besvarar den enligt följande: </a:t>
            </a:r>
          </a:p>
          <a:p>
            <a:pPr lvl="2">
              <a:spcAft>
                <a:spcPts val="0"/>
              </a:spcAft>
            </a:pPr>
            <a:endParaRPr lang="sv-SE"/>
          </a:p>
          <a:p>
            <a:pPr lvl="1">
              <a:spcAft>
                <a:spcPts val="0"/>
              </a:spcAft>
            </a:pPr>
            <a:r>
              <a:rPr lang="sv-SE" i="1"/>
              <a:t>”Du var en av de första som tecknade den här prisplanen. Idag är detta en prisplan som enbart erbjuds till våra ramavtalskunder. Det påverkar dock inte ditt avtal eller erbjudande.”</a:t>
            </a:r>
          </a:p>
          <a:p>
            <a:pPr lvl="1">
              <a:spcAft>
                <a:spcPts val="0"/>
              </a:spcAft>
            </a:pPr>
            <a:endParaRPr lang="sv-SE" sz="1100"/>
          </a:p>
          <a:p>
            <a:pPr lvl="0">
              <a:spcBef>
                <a:spcPts val="0"/>
              </a:spcBef>
              <a:spcAft>
                <a:spcPts val="0"/>
              </a:spcAft>
            </a:pPr>
            <a:endParaRPr lang="sv-SE" sz="2000"/>
          </a:p>
          <a:p>
            <a:pPr lvl="0">
              <a:spcBef>
                <a:spcPts val="0"/>
              </a:spcBef>
              <a:spcAft>
                <a:spcPts val="0"/>
              </a:spcAft>
            </a:pPr>
            <a:endParaRPr lang="sv-SE" sz="2000"/>
          </a:p>
          <a:p>
            <a:pPr lvl="0">
              <a:spcBef>
                <a:spcPts val="0"/>
              </a:spcBef>
              <a:spcAft>
                <a:spcPts val="0"/>
              </a:spcAft>
            </a:pPr>
            <a:endParaRPr lang="sv-SE" sz="2000"/>
          </a:p>
          <a:p>
            <a:pPr lvl="0">
              <a:spcBef>
                <a:spcPts val="0"/>
              </a:spcBef>
              <a:spcAft>
                <a:spcPts val="0"/>
              </a:spcAft>
            </a:pPr>
            <a:endParaRPr lang="sv-SE" sz="2000"/>
          </a:p>
          <a:p>
            <a:pPr lvl="0">
              <a:spcBef>
                <a:spcPts val="0"/>
              </a:spcBef>
              <a:spcAft>
                <a:spcPts val="0"/>
              </a:spcAft>
            </a:pPr>
            <a:endParaRPr lang="sv-SE" sz="200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089A155-F956-851D-4FF7-FEE41CF3A1D6}"/>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2089A155-F956-851D-4FF7-FEE41CF3A1D6}"/>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B302FA1D-8CFF-E1F4-88FA-4D1C6D1A7219}"/>
              </a:ext>
            </a:extLst>
          </p:cNvPr>
          <p:cNvSpPr txBox="1">
            <a:spLocks noGrp="1"/>
          </p:cNvSpPr>
          <p:nvPr>
            <p:ph type="title"/>
          </p:nvPr>
        </p:nvSpPr>
        <p:spPr>
          <a:xfrm>
            <a:off x="803272" y="1088501"/>
            <a:ext cx="10585451" cy="900107"/>
          </a:xfrm>
          <a:prstGeom prst="rect">
            <a:avLst/>
          </a:prstGeom>
          <a:noFill/>
          <a:ln>
            <a:noFill/>
          </a:ln>
        </p:spPr>
        <p:txBody>
          <a:bodyPr vert="horz" wrap="square" lIns="0" tIns="0" rIns="0" bIns="0" anchor="t" anchorCtr="0" compatLnSpc="1">
            <a:noAutofit/>
          </a:bodyPr>
          <a:lstStyle/>
          <a:p>
            <a:pPr lvl="0"/>
            <a:r>
              <a:rPr lang="sv-SE"/>
              <a:t>Våra prislistor</a:t>
            </a:r>
          </a:p>
        </p:txBody>
      </p:sp>
      <p:sp>
        <p:nvSpPr>
          <p:cNvPr id="4" name="Content Placeholder 2">
            <a:extLst>
              <a:ext uri="{FF2B5EF4-FFF2-40B4-BE49-F238E27FC236}">
                <a16:creationId xmlns:a16="http://schemas.microsoft.com/office/drawing/2014/main" id="{E52F220F-03C2-5518-99AE-4A2F13CC5105}"/>
              </a:ext>
            </a:extLst>
          </p:cNvPr>
          <p:cNvSpPr txBox="1">
            <a:spLocks noGrp="1"/>
          </p:cNvSpPr>
          <p:nvPr>
            <p:ph type="body" idx="4294967295"/>
          </p:nvPr>
        </p:nvSpPr>
        <p:spPr/>
        <p:txBody>
          <a:bodyPr/>
          <a:lstStyle/>
          <a:p>
            <a:pPr lvl="0"/>
            <a:r>
              <a:rPr lang="sv-SE"/>
              <a:t>Nya prislistor för våra ATL-abonnemang kommer finnas på tre.se från 26/8 (</a:t>
            </a:r>
            <a:r>
              <a:rPr lang="sv-SE">
                <a:hlinkClick r:id="rId4">
                  <a:extLst>
                    <a:ext uri="{A12FA001-AC4F-418D-AE19-62706E023703}">
                      <ahyp:hlinkClr xmlns:ahyp="http://schemas.microsoft.com/office/drawing/2018/hyperlinkcolor" val="tx"/>
                    </a:ext>
                  </a:extLst>
                </a:hlinkClick>
              </a:rPr>
              <a:t>https://www.tre.se/support/kopinformation/prislistor</a:t>
            </a:r>
            <a:r>
              <a:rPr lang="sv-SE"/>
              <a:t>) – OBS, städning pågår på denna sida </a:t>
            </a:r>
            <a:r>
              <a:rPr lang="sv-SE">
                <a:latin typeface="Wingdings" pitchFamily="2"/>
              </a:rPr>
              <a:t></a:t>
            </a:r>
            <a:endParaRPr lang="sv-SE"/>
          </a:p>
          <a:p>
            <a:pPr lvl="0"/>
            <a:r>
              <a:rPr lang="sv-SE"/>
              <a:t>Ny prislista för våra BTL-abonnemang kommer finnas på SIW från 26/8</a:t>
            </a:r>
          </a:p>
          <a:p>
            <a:pPr lvl="0"/>
            <a:r>
              <a:rPr lang="sv-SE"/>
              <a:t>Nya prislistor för de som jobbar med ramavtalsabonnemangen kommer också finnas tillgängliga från 26/8</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345783-2A1F-907F-7ACB-237C5A410239}"/>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38345783-2A1F-907F-7ACB-237C5A410239}"/>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3">
            <a:extLst>
              <a:ext uri="{FF2B5EF4-FFF2-40B4-BE49-F238E27FC236}">
                <a16:creationId xmlns:a16="http://schemas.microsoft.com/office/drawing/2014/main" id="{5503642D-EBA8-ECAB-634E-312A1A79487F}"/>
              </a:ext>
            </a:extLst>
          </p:cNvPr>
          <p:cNvSpPr txBox="1">
            <a:spLocks noGrp="1"/>
          </p:cNvSpPr>
          <p:nvPr>
            <p:ph type="title"/>
          </p:nvPr>
        </p:nvSpPr>
        <p:spPr>
          <a:xfrm>
            <a:off x="838203" y="1412876"/>
            <a:ext cx="10515600" cy="2160590"/>
          </a:xfrm>
          <a:prstGeom prst="rect">
            <a:avLst/>
          </a:prstGeom>
          <a:noFill/>
          <a:ln>
            <a:noFill/>
          </a:ln>
        </p:spPr>
        <p:txBody>
          <a:bodyPr vert="horz" wrap="square" lIns="0" tIns="0" rIns="0" bIns="0" anchor="b" anchorCtr="1" compatLnSpc="1">
            <a:noAutofit/>
          </a:bodyPr>
          <a:lstStyle/>
          <a:p>
            <a:pPr lvl="0" algn="ctr"/>
            <a:r>
              <a:rPr lang="sv-SE" sz="4000">
                <a:solidFill>
                  <a:srgbClr val="FFFFFF"/>
                </a:solidFill>
              </a:rPr>
              <a:t>Bredband</a:t>
            </a:r>
          </a:p>
        </p:txBody>
      </p:sp>
      <p:sp>
        <p:nvSpPr>
          <p:cNvPr id="4" name="Text Placeholder 4">
            <a:extLst>
              <a:ext uri="{FF2B5EF4-FFF2-40B4-BE49-F238E27FC236}">
                <a16:creationId xmlns:a16="http://schemas.microsoft.com/office/drawing/2014/main" id="{6E1D5ADB-6AB5-9CDD-A0C0-554F69F38D9F}"/>
              </a:ext>
            </a:extLst>
          </p:cNvPr>
          <p:cNvSpPr txBox="1">
            <a:spLocks noGrp="1"/>
          </p:cNvSpPr>
          <p:nvPr>
            <p:ph type="body" idx="1"/>
          </p:nvPr>
        </p:nvSpPr>
        <p:spPr>
          <a:xfrm>
            <a:off x="838203" y="3752853"/>
            <a:ext cx="10515600" cy="1692270"/>
          </a:xfrm>
          <a:prstGeom prst="rect">
            <a:avLst/>
          </a:prstGeom>
          <a:noFill/>
          <a:ln>
            <a:noFill/>
          </a:ln>
        </p:spPr>
        <p:txBody>
          <a:bodyPr vert="horz" wrap="square" lIns="0" tIns="0" rIns="0" bIns="0" anchor="t" anchorCtr="1" compatLnSpc="1">
            <a:noAutofit/>
          </a:bodyPr>
          <a:lstStyle/>
          <a:p>
            <a:endParaRPr lang="sv-SE"/>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3530AAA-ABEA-4D6E-8B8C-2AACC86E68E1}"/>
              </a:ext>
            </a:extLst>
          </p:cNvPr>
          <p:cNvSpPr>
            <a:spLocks noGrp="1"/>
          </p:cNvSpPr>
          <p:nvPr>
            <p:ph type="title"/>
          </p:nvPr>
        </p:nvSpPr>
        <p:spPr>
          <a:xfrm>
            <a:off x="838200" y="1412876"/>
            <a:ext cx="10515600" cy="2160588"/>
          </a:xfrm>
        </p:spPr>
        <p:txBody>
          <a:bodyPr anchor="b">
            <a:normAutofit/>
          </a:bodyPr>
          <a:lstStyle/>
          <a:p>
            <a:r>
              <a:rPr lang="sv-SE" dirty="0"/>
              <a:t>Ny Voice- och Bredbandsportfölj B2B</a:t>
            </a:r>
          </a:p>
        </p:txBody>
      </p:sp>
      <p:sp>
        <p:nvSpPr>
          <p:cNvPr id="14" name="Subtitle 13">
            <a:extLst>
              <a:ext uri="{FF2B5EF4-FFF2-40B4-BE49-F238E27FC236}">
                <a16:creationId xmlns:a16="http://schemas.microsoft.com/office/drawing/2014/main" id="{F485367D-1834-42CF-BFCB-42ED38C83126}"/>
              </a:ext>
            </a:extLst>
          </p:cNvPr>
          <p:cNvSpPr>
            <a:spLocks noGrp="1"/>
          </p:cNvSpPr>
          <p:nvPr>
            <p:ph type="body" idx="1"/>
          </p:nvPr>
        </p:nvSpPr>
        <p:spPr>
          <a:xfrm>
            <a:off x="838200" y="3759201"/>
            <a:ext cx="10515600" cy="1685923"/>
          </a:xfrm>
        </p:spPr>
        <p:txBody>
          <a:bodyPr>
            <a:normAutofit/>
          </a:bodyPr>
          <a:lstStyle/>
          <a:p>
            <a:r>
              <a:rPr lang="sv-SE" dirty="0"/>
              <a:t>Partner Sales</a:t>
            </a:r>
          </a:p>
        </p:txBody>
      </p:sp>
      <p:sp>
        <p:nvSpPr>
          <p:cNvPr id="5" name="Platshållare för datum 4" hidden="1">
            <a:extLst>
              <a:ext uri="{FF2B5EF4-FFF2-40B4-BE49-F238E27FC236}">
                <a16:creationId xmlns:a16="http://schemas.microsoft.com/office/drawing/2014/main" id="{C56B9A60-F435-460E-9B91-A6331552DC41}"/>
              </a:ext>
            </a:extLst>
          </p:cNvPr>
          <p:cNvSpPr>
            <a:spLocks noGrp="1"/>
          </p:cNvSpPr>
          <p:nvPr>
            <p:ph type="dt" sz="half" idx="10"/>
          </p:nvPr>
        </p:nvSpPr>
        <p:spPr>
          <a:xfrm>
            <a:off x="803275" y="5782581"/>
            <a:ext cx="2743200" cy="383269"/>
          </a:xfrm>
        </p:spPr>
        <p:txBody>
          <a:bodyPr/>
          <a:lstStyle/>
          <a:p>
            <a:pPr>
              <a:spcAft>
                <a:spcPts val="600"/>
              </a:spcAft>
            </a:pPr>
            <a:fld id="{D19B8066-171B-42E8-9355-0A67BD3B1A76}" type="datetime1">
              <a:rPr lang="sv-SE" smtClean="0"/>
              <a:pPr>
                <a:spcAft>
                  <a:spcPts val="600"/>
                </a:spcAft>
              </a:pPr>
              <a:t>2024-08-20</a:t>
            </a:fld>
            <a:endParaRPr lang="sv-SE"/>
          </a:p>
        </p:txBody>
      </p:sp>
    </p:spTree>
    <p:extLst>
      <p:ext uri="{BB962C8B-B14F-4D97-AF65-F5344CB8AC3E}">
        <p14:creationId xmlns:p14="http://schemas.microsoft.com/office/powerpoint/2010/main" val="32890120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968930-37C2-1787-9744-FB2B21276139}"/>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508" imgH="5508" progId="TCLayout.ActiveDocument.1">
                  <p:embed/>
                </p:oleObj>
              </mc:Choice>
              <mc:Fallback>
                <p:oleObj name="think-cell Slide" r:id="rId3" imgW="5508" imgH="5508" progId="TCLayout.ActiveDocument.1">
                  <p:embed/>
                  <p:pic>
                    <p:nvPicPr>
                      <p:cNvPr id="2" name="Object 1" hidden="1">
                        <a:extLst>
                          <a:ext uri="{FF2B5EF4-FFF2-40B4-BE49-F238E27FC236}">
                            <a16:creationId xmlns:a16="http://schemas.microsoft.com/office/drawing/2014/main" id="{EA968930-37C2-1787-9744-FB2B21276139}"/>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grpSp>
        <p:nvGrpSpPr>
          <p:cNvPr id="3" name="Group 14">
            <a:extLst>
              <a:ext uri="{FF2B5EF4-FFF2-40B4-BE49-F238E27FC236}">
                <a16:creationId xmlns:a16="http://schemas.microsoft.com/office/drawing/2014/main" id="{599286B1-0658-7376-4616-1F001531049E}"/>
              </a:ext>
            </a:extLst>
          </p:cNvPr>
          <p:cNvGrpSpPr/>
          <p:nvPr/>
        </p:nvGrpSpPr>
        <p:grpSpPr>
          <a:xfrm>
            <a:off x="803272" y="2206977"/>
            <a:ext cx="8316916" cy="3968047"/>
            <a:chOff x="803272" y="2206977"/>
            <a:chExt cx="8316916" cy="3968047"/>
          </a:xfrm>
        </p:grpSpPr>
        <p:sp>
          <p:nvSpPr>
            <p:cNvPr id="4" name="Freeform: Shape 15">
              <a:extLst>
                <a:ext uri="{FF2B5EF4-FFF2-40B4-BE49-F238E27FC236}">
                  <a16:creationId xmlns:a16="http://schemas.microsoft.com/office/drawing/2014/main" id="{518EEE4D-B41A-17BB-9266-976A128DFAD8}"/>
                </a:ext>
              </a:extLst>
            </p:cNvPr>
            <p:cNvSpPr/>
            <p:nvPr/>
          </p:nvSpPr>
          <p:spPr>
            <a:xfrm>
              <a:off x="3797366" y="2334975"/>
              <a:ext cx="5322822" cy="1024009"/>
            </a:xfrm>
            <a:custGeom>
              <a:avLst/>
              <a:gdLst>
                <a:gd name="f0" fmla="val 10800000"/>
                <a:gd name="f1" fmla="val 5400000"/>
                <a:gd name="f2" fmla="val 180"/>
                <a:gd name="f3" fmla="val w"/>
                <a:gd name="f4" fmla="val h"/>
                <a:gd name="f5" fmla="val 0"/>
                <a:gd name="f6" fmla="val 1024011"/>
                <a:gd name="f7" fmla="val 5322824"/>
                <a:gd name="f8" fmla="val 887157"/>
                <a:gd name="f9" fmla="val 4435667"/>
                <a:gd name="f10" fmla="val 4925631"/>
                <a:gd name="f11" fmla="val 1009311"/>
                <a:gd name="f12" fmla="val 5322821"/>
                <a:gd name="f13" fmla="val 991177"/>
                <a:gd name="f14" fmla="val 3"/>
                <a:gd name="f15" fmla="val 397193"/>
                <a:gd name="f16" fmla="+- 0 0 -90"/>
                <a:gd name="f17" fmla="*/ f3 1 1024011"/>
                <a:gd name="f18" fmla="*/ f4 1 5322824"/>
                <a:gd name="f19" fmla="val f5"/>
                <a:gd name="f20" fmla="val f6"/>
                <a:gd name="f21" fmla="val f7"/>
                <a:gd name="f22" fmla="*/ f16 f0 1"/>
                <a:gd name="f23" fmla="+- f21 0 f19"/>
                <a:gd name="f24" fmla="+- f20 0 f19"/>
                <a:gd name="f25" fmla="*/ f22 1 f2"/>
                <a:gd name="f26" fmla="*/ f24 1 1024011"/>
                <a:gd name="f27" fmla="*/ f23 1 5322824"/>
                <a:gd name="f28" fmla="*/ 170672 f24 1"/>
                <a:gd name="f29" fmla="*/ 0 f23 1"/>
                <a:gd name="f30" fmla="*/ 853339 f24 1"/>
                <a:gd name="f31" fmla="*/ 1024011 f24 1"/>
                <a:gd name="f32" fmla="*/ 170672 f23 1"/>
                <a:gd name="f33" fmla="*/ 5322824 f23 1"/>
                <a:gd name="f34" fmla="*/ 0 f24 1"/>
                <a:gd name="f35" fmla="+- f25 0 f1"/>
                <a:gd name="f36" fmla="*/ f28 1 1024011"/>
                <a:gd name="f37" fmla="*/ f29 1 5322824"/>
                <a:gd name="f38" fmla="*/ f30 1 1024011"/>
                <a:gd name="f39" fmla="*/ f31 1 1024011"/>
                <a:gd name="f40" fmla="*/ f32 1 5322824"/>
                <a:gd name="f41" fmla="*/ f33 1 5322824"/>
                <a:gd name="f42" fmla="*/ f34 1 1024011"/>
                <a:gd name="f43" fmla="*/ f19 1 f26"/>
                <a:gd name="f44" fmla="*/ f20 1 f26"/>
                <a:gd name="f45" fmla="*/ f19 1 f27"/>
                <a:gd name="f46" fmla="*/ f21 1 f27"/>
                <a:gd name="f47" fmla="*/ f36 1 f26"/>
                <a:gd name="f48" fmla="*/ f37 1 f27"/>
                <a:gd name="f49" fmla="*/ f38 1 f26"/>
                <a:gd name="f50" fmla="*/ f39 1 f26"/>
                <a:gd name="f51" fmla="*/ f40 1 f27"/>
                <a:gd name="f52" fmla="*/ f41 1 f27"/>
                <a:gd name="f53" fmla="*/ f42 1 f26"/>
                <a:gd name="f54" fmla="*/ f43 f17 1"/>
                <a:gd name="f55" fmla="*/ f44 f17 1"/>
                <a:gd name="f56" fmla="*/ f46 f18 1"/>
                <a:gd name="f57" fmla="*/ f45 f18 1"/>
                <a:gd name="f58" fmla="*/ f47 f17 1"/>
                <a:gd name="f59" fmla="*/ f48 f18 1"/>
                <a:gd name="f60" fmla="*/ f49 f17 1"/>
                <a:gd name="f61" fmla="*/ f50 f17 1"/>
                <a:gd name="f62" fmla="*/ f51 f18 1"/>
                <a:gd name="f63" fmla="*/ f52 f18 1"/>
                <a:gd name="f64" fmla="*/ f53 f17 1"/>
              </a:gdLst>
              <a:ahLst/>
              <a:cxnLst>
                <a:cxn ang="3cd4">
                  <a:pos x="hc" y="t"/>
                </a:cxn>
                <a:cxn ang="0">
                  <a:pos x="r" y="vc"/>
                </a:cxn>
                <a:cxn ang="cd4">
                  <a:pos x="hc" y="b"/>
                </a:cxn>
                <a:cxn ang="cd2">
                  <a:pos x="l" y="vc"/>
                </a:cxn>
                <a:cxn ang="f35">
                  <a:pos x="f58" y="f59"/>
                </a:cxn>
                <a:cxn ang="f35">
                  <a:pos x="f60" y="f59"/>
                </a:cxn>
                <a:cxn ang="f35">
                  <a:pos x="f61" y="f62"/>
                </a:cxn>
                <a:cxn ang="f35">
                  <a:pos x="f61" y="f63"/>
                </a:cxn>
                <a:cxn ang="f35">
                  <a:pos x="f61" y="f63"/>
                </a:cxn>
                <a:cxn ang="f35">
                  <a:pos x="f64" y="f63"/>
                </a:cxn>
                <a:cxn ang="f35">
                  <a:pos x="f64" y="f63"/>
                </a:cxn>
                <a:cxn ang="f35">
                  <a:pos x="f64" y="f62"/>
                </a:cxn>
                <a:cxn ang="f35">
                  <a:pos x="f58" y="f59"/>
                </a:cxn>
              </a:cxnLst>
              <a:rect l="f54" t="f57" r="f55" b="f56"/>
              <a:pathLst>
                <a:path w="1024011" h="5322824">
                  <a:moveTo>
                    <a:pt x="f6" y="f8"/>
                  </a:moveTo>
                  <a:lnTo>
                    <a:pt x="f6" y="f9"/>
                  </a:lnTo>
                  <a:cubicBezTo>
                    <a:pt x="f6" y="f10"/>
                    <a:pt x="f11" y="f12"/>
                    <a:pt x="f13" y="f12"/>
                  </a:cubicBezTo>
                  <a:lnTo>
                    <a:pt x="f5" y="f12"/>
                  </a:lnTo>
                  <a:lnTo>
                    <a:pt x="f5" y="f12"/>
                  </a:lnTo>
                  <a:lnTo>
                    <a:pt x="f5" y="f14"/>
                  </a:lnTo>
                  <a:lnTo>
                    <a:pt x="f5" y="f14"/>
                  </a:lnTo>
                  <a:lnTo>
                    <a:pt x="f13" y="f14"/>
                  </a:lnTo>
                  <a:cubicBezTo>
                    <a:pt x="f11" y="f14"/>
                    <a:pt x="f6" y="f15"/>
                    <a:pt x="f6" y="f8"/>
                  </a:cubicBezTo>
                  <a:close/>
                </a:path>
              </a:pathLst>
            </a:custGeom>
            <a:solidFill>
              <a:srgbClr val="FFFFFF">
                <a:alpha val="90000"/>
              </a:srgbClr>
            </a:solidFill>
            <a:ln w="12701" cap="flat">
              <a:solidFill>
                <a:srgbClr val="FF5C00">
                  <a:alpha val="90000"/>
                </a:srgbClr>
              </a:solidFill>
              <a:prstDash val="solid"/>
              <a:miter/>
            </a:ln>
          </p:spPr>
          <p:txBody>
            <a:bodyPr vert="horz" wrap="square" lIns="57150" tIns="78565" rIns="107140" bIns="78565" anchor="ctr" anchorCtr="0" compatLnSpc="1">
              <a:noAutofit/>
            </a:bodyPr>
            <a:lstStyle/>
            <a:p>
              <a:pPr marL="114300" marR="0" lvl="1" indent="-114300" algn="l" defTabSz="666753" rtl="0" fontAlgn="auto" hangingPunct="1">
                <a:lnSpc>
                  <a:spcPct val="90000"/>
                </a:lnSpc>
                <a:spcBef>
                  <a:spcPts val="0"/>
                </a:spcBef>
                <a:spcAft>
                  <a:spcPts val="300"/>
                </a:spcAft>
                <a:buSzPct val="100000"/>
                <a:buChar char="•"/>
                <a:tabLst/>
                <a:defRPr sz="1800" b="0" i="0" u="none" strike="noStrike" kern="0" cap="none" spc="0" baseline="0">
                  <a:solidFill>
                    <a:srgbClr val="000000"/>
                  </a:solidFill>
                  <a:uFillTx/>
                </a:defRPr>
              </a:pPr>
              <a:r>
                <a:rPr lang="sv-SE" sz="1500" b="0" i="0" u="none" strike="noStrike" kern="1200" cap="none" spc="0" baseline="0">
                  <a:solidFill>
                    <a:srgbClr val="000000"/>
                  </a:solidFill>
                  <a:uFillTx/>
                  <a:latin typeface="HelveticaNeueLT Std"/>
                </a:rPr>
                <a:t>Ny abonnemangsportfölj</a:t>
              </a:r>
            </a:p>
          </p:txBody>
        </p:sp>
        <p:sp>
          <p:nvSpPr>
            <p:cNvPr id="5" name="Freeform: Shape 16">
              <a:extLst>
                <a:ext uri="{FF2B5EF4-FFF2-40B4-BE49-F238E27FC236}">
                  <a16:creationId xmlns:a16="http://schemas.microsoft.com/office/drawing/2014/main" id="{3347D580-41F0-846C-E319-F3C3F6E7BAF8}"/>
                </a:ext>
              </a:extLst>
            </p:cNvPr>
            <p:cNvSpPr/>
            <p:nvPr/>
          </p:nvSpPr>
          <p:spPr>
            <a:xfrm>
              <a:off x="803272" y="2206977"/>
              <a:ext cx="2994083" cy="1280013"/>
            </a:xfrm>
            <a:custGeom>
              <a:avLst/>
              <a:gdLst>
                <a:gd name="f0" fmla="val 10800000"/>
                <a:gd name="f1" fmla="val 5400000"/>
                <a:gd name="f2" fmla="val 180"/>
                <a:gd name="f3" fmla="val w"/>
                <a:gd name="f4" fmla="val h"/>
                <a:gd name="f5" fmla="val 0"/>
                <a:gd name="f6" fmla="val 2994088"/>
                <a:gd name="f7" fmla="val 1280014"/>
                <a:gd name="f8" fmla="val 213340"/>
                <a:gd name="f9" fmla="val 95516"/>
                <a:gd name="f10" fmla="val 2780748"/>
                <a:gd name="f11" fmla="val 2898572"/>
                <a:gd name="f12" fmla="val 1066674"/>
                <a:gd name="f13" fmla="val 1184498"/>
                <a:gd name="f14" fmla="+- 0 0 -90"/>
                <a:gd name="f15" fmla="*/ f3 1 2994088"/>
                <a:gd name="f16" fmla="*/ f4 1 1280014"/>
                <a:gd name="f17" fmla="val f5"/>
                <a:gd name="f18" fmla="val f6"/>
                <a:gd name="f19" fmla="val f7"/>
                <a:gd name="f20" fmla="*/ f14 f0 1"/>
                <a:gd name="f21" fmla="+- f19 0 f17"/>
                <a:gd name="f22" fmla="+- f18 0 f17"/>
                <a:gd name="f23" fmla="*/ f20 1 f2"/>
                <a:gd name="f24" fmla="*/ f22 1 2994088"/>
                <a:gd name="f25" fmla="*/ f21 1 1280014"/>
                <a:gd name="f26" fmla="*/ 0 f22 1"/>
                <a:gd name="f27" fmla="*/ 213340 f21 1"/>
                <a:gd name="f28" fmla="*/ 213340 f22 1"/>
                <a:gd name="f29" fmla="*/ 0 f21 1"/>
                <a:gd name="f30" fmla="*/ 2780748 f22 1"/>
                <a:gd name="f31" fmla="*/ 2994088 f22 1"/>
                <a:gd name="f32" fmla="*/ 1066674 f21 1"/>
                <a:gd name="f33" fmla="*/ 1280014 f21 1"/>
                <a:gd name="f34" fmla="+- f23 0 f1"/>
                <a:gd name="f35" fmla="*/ f26 1 2994088"/>
                <a:gd name="f36" fmla="*/ f27 1 1280014"/>
                <a:gd name="f37" fmla="*/ f28 1 2994088"/>
                <a:gd name="f38" fmla="*/ f29 1 1280014"/>
                <a:gd name="f39" fmla="*/ f30 1 2994088"/>
                <a:gd name="f40" fmla="*/ f31 1 2994088"/>
                <a:gd name="f41" fmla="*/ f32 1 1280014"/>
                <a:gd name="f42" fmla="*/ f33 1 1280014"/>
                <a:gd name="f43" fmla="*/ f17 1 f24"/>
                <a:gd name="f44" fmla="*/ f18 1 f24"/>
                <a:gd name="f45" fmla="*/ f17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2994088" h="1280014">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FFFFFF">
                <a:alpha val="95000"/>
              </a:srgbClr>
            </a:solidFill>
            <a:ln w="12701" cap="flat">
              <a:solidFill>
                <a:srgbClr val="E75300"/>
              </a:solidFill>
              <a:prstDash val="solid"/>
              <a:miter/>
            </a:ln>
          </p:spPr>
          <p:txBody>
            <a:bodyPr vert="horz" wrap="square" lIns="142490" tIns="102485" rIns="142490" bIns="102485" anchor="ctr" anchorCtr="1" compatLnSpc="1">
              <a:noAutofit/>
            </a:bodyPr>
            <a:lstStyle/>
            <a:p>
              <a:pPr marL="0" marR="0" lvl="0" indent="0" algn="ctr" defTabSz="933446" rtl="0" fontAlgn="auto" hangingPunct="1">
                <a:lnSpc>
                  <a:spcPct val="90000"/>
                </a:lnSpc>
                <a:spcBef>
                  <a:spcPts val="0"/>
                </a:spcBef>
                <a:spcAft>
                  <a:spcPts val="900"/>
                </a:spcAft>
                <a:buNone/>
                <a:tabLst/>
                <a:defRPr sz="1800" b="0" i="0" u="none" strike="noStrike" kern="0" cap="none" spc="0" baseline="0">
                  <a:solidFill>
                    <a:srgbClr val="000000"/>
                  </a:solidFill>
                  <a:uFillTx/>
                </a:defRPr>
              </a:pPr>
              <a:r>
                <a:rPr lang="sv-SE" sz="2100" b="0" i="0" u="none" strike="noStrike" kern="1200" cap="none" spc="0" baseline="0">
                  <a:solidFill>
                    <a:srgbClr val="000000"/>
                  </a:solidFill>
                  <a:uFillTx/>
                  <a:latin typeface="HelveticaNeueLT Std"/>
                </a:rPr>
                <a:t>Ny portfölj</a:t>
              </a:r>
            </a:p>
          </p:txBody>
        </p:sp>
        <p:sp>
          <p:nvSpPr>
            <p:cNvPr id="6" name="Freeform: Shape 17">
              <a:extLst>
                <a:ext uri="{FF2B5EF4-FFF2-40B4-BE49-F238E27FC236}">
                  <a16:creationId xmlns:a16="http://schemas.microsoft.com/office/drawing/2014/main" id="{6AE7096B-1CFB-4C7A-DC0D-07772C196069}"/>
                </a:ext>
              </a:extLst>
            </p:cNvPr>
            <p:cNvSpPr/>
            <p:nvPr/>
          </p:nvSpPr>
          <p:spPr>
            <a:xfrm>
              <a:off x="3797366" y="3678996"/>
              <a:ext cx="5322822" cy="1024009"/>
            </a:xfrm>
            <a:custGeom>
              <a:avLst/>
              <a:gdLst>
                <a:gd name="f0" fmla="val 10800000"/>
                <a:gd name="f1" fmla="val 5400000"/>
                <a:gd name="f2" fmla="val 180"/>
                <a:gd name="f3" fmla="val w"/>
                <a:gd name="f4" fmla="val h"/>
                <a:gd name="f5" fmla="val 0"/>
                <a:gd name="f6" fmla="val 1024011"/>
                <a:gd name="f7" fmla="val 5322824"/>
                <a:gd name="f8" fmla="val 887157"/>
                <a:gd name="f9" fmla="val 4435667"/>
                <a:gd name="f10" fmla="val 4925631"/>
                <a:gd name="f11" fmla="val 1009311"/>
                <a:gd name="f12" fmla="val 5322821"/>
                <a:gd name="f13" fmla="val 991177"/>
                <a:gd name="f14" fmla="val 3"/>
                <a:gd name="f15" fmla="val 397193"/>
                <a:gd name="f16" fmla="+- 0 0 -90"/>
                <a:gd name="f17" fmla="*/ f3 1 1024011"/>
                <a:gd name="f18" fmla="*/ f4 1 5322824"/>
                <a:gd name="f19" fmla="val f5"/>
                <a:gd name="f20" fmla="val f6"/>
                <a:gd name="f21" fmla="val f7"/>
                <a:gd name="f22" fmla="*/ f16 f0 1"/>
                <a:gd name="f23" fmla="+- f21 0 f19"/>
                <a:gd name="f24" fmla="+- f20 0 f19"/>
                <a:gd name="f25" fmla="*/ f22 1 f2"/>
                <a:gd name="f26" fmla="*/ f24 1 1024011"/>
                <a:gd name="f27" fmla="*/ f23 1 5322824"/>
                <a:gd name="f28" fmla="*/ 170672 f24 1"/>
                <a:gd name="f29" fmla="*/ 0 f23 1"/>
                <a:gd name="f30" fmla="*/ 853339 f24 1"/>
                <a:gd name="f31" fmla="*/ 1024011 f24 1"/>
                <a:gd name="f32" fmla="*/ 170672 f23 1"/>
                <a:gd name="f33" fmla="*/ 5322824 f23 1"/>
                <a:gd name="f34" fmla="*/ 0 f24 1"/>
                <a:gd name="f35" fmla="+- f25 0 f1"/>
                <a:gd name="f36" fmla="*/ f28 1 1024011"/>
                <a:gd name="f37" fmla="*/ f29 1 5322824"/>
                <a:gd name="f38" fmla="*/ f30 1 1024011"/>
                <a:gd name="f39" fmla="*/ f31 1 1024011"/>
                <a:gd name="f40" fmla="*/ f32 1 5322824"/>
                <a:gd name="f41" fmla="*/ f33 1 5322824"/>
                <a:gd name="f42" fmla="*/ f34 1 1024011"/>
                <a:gd name="f43" fmla="*/ f19 1 f26"/>
                <a:gd name="f44" fmla="*/ f20 1 f26"/>
                <a:gd name="f45" fmla="*/ f19 1 f27"/>
                <a:gd name="f46" fmla="*/ f21 1 f27"/>
                <a:gd name="f47" fmla="*/ f36 1 f26"/>
                <a:gd name="f48" fmla="*/ f37 1 f27"/>
                <a:gd name="f49" fmla="*/ f38 1 f26"/>
                <a:gd name="f50" fmla="*/ f39 1 f26"/>
                <a:gd name="f51" fmla="*/ f40 1 f27"/>
                <a:gd name="f52" fmla="*/ f41 1 f27"/>
                <a:gd name="f53" fmla="*/ f42 1 f26"/>
                <a:gd name="f54" fmla="*/ f43 f17 1"/>
                <a:gd name="f55" fmla="*/ f44 f17 1"/>
                <a:gd name="f56" fmla="*/ f46 f18 1"/>
                <a:gd name="f57" fmla="*/ f45 f18 1"/>
                <a:gd name="f58" fmla="*/ f47 f17 1"/>
                <a:gd name="f59" fmla="*/ f48 f18 1"/>
                <a:gd name="f60" fmla="*/ f49 f17 1"/>
                <a:gd name="f61" fmla="*/ f50 f17 1"/>
                <a:gd name="f62" fmla="*/ f51 f18 1"/>
                <a:gd name="f63" fmla="*/ f52 f18 1"/>
                <a:gd name="f64" fmla="*/ f53 f17 1"/>
              </a:gdLst>
              <a:ahLst/>
              <a:cxnLst>
                <a:cxn ang="3cd4">
                  <a:pos x="hc" y="t"/>
                </a:cxn>
                <a:cxn ang="0">
                  <a:pos x="r" y="vc"/>
                </a:cxn>
                <a:cxn ang="cd4">
                  <a:pos x="hc" y="b"/>
                </a:cxn>
                <a:cxn ang="cd2">
                  <a:pos x="l" y="vc"/>
                </a:cxn>
                <a:cxn ang="f35">
                  <a:pos x="f58" y="f59"/>
                </a:cxn>
                <a:cxn ang="f35">
                  <a:pos x="f60" y="f59"/>
                </a:cxn>
                <a:cxn ang="f35">
                  <a:pos x="f61" y="f62"/>
                </a:cxn>
                <a:cxn ang="f35">
                  <a:pos x="f61" y="f63"/>
                </a:cxn>
                <a:cxn ang="f35">
                  <a:pos x="f61" y="f63"/>
                </a:cxn>
                <a:cxn ang="f35">
                  <a:pos x="f64" y="f63"/>
                </a:cxn>
                <a:cxn ang="f35">
                  <a:pos x="f64" y="f63"/>
                </a:cxn>
                <a:cxn ang="f35">
                  <a:pos x="f64" y="f62"/>
                </a:cxn>
                <a:cxn ang="f35">
                  <a:pos x="f58" y="f59"/>
                </a:cxn>
              </a:cxnLst>
              <a:rect l="f54" t="f57" r="f55" b="f56"/>
              <a:pathLst>
                <a:path w="1024011" h="5322824">
                  <a:moveTo>
                    <a:pt x="f6" y="f8"/>
                  </a:moveTo>
                  <a:lnTo>
                    <a:pt x="f6" y="f9"/>
                  </a:lnTo>
                  <a:cubicBezTo>
                    <a:pt x="f6" y="f10"/>
                    <a:pt x="f11" y="f12"/>
                    <a:pt x="f13" y="f12"/>
                  </a:cubicBezTo>
                  <a:lnTo>
                    <a:pt x="f5" y="f12"/>
                  </a:lnTo>
                  <a:lnTo>
                    <a:pt x="f5" y="f12"/>
                  </a:lnTo>
                  <a:lnTo>
                    <a:pt x="f5" y="f14"/>
                  </a:lnTo>
                  <a:lnTo>
                    <a:pt x="f5" y="f14"/>
                  </a:lnTo>
                  <a:lnTo>
                    <a:pt x="f13" y="f14"/>
                  </a:lnTo>
                  <a:cubicBezTo>
                    <a:pt x="f11" y="f14"/>
                    <a:pt x="f6" y="f15"/>
                    <a:pt x="f6" y="f8"/>
                  </a:cubicBezTo>
                  <a:close/>
                </a:path>
              </a:pathLst>
            </a:custGeom>
            <a:solidFill>
              <a:srgbClr val="FFFFFF">
                <a:alpha val="90000"/>
              </a:srgbClr>
            </a:solidFill>
            <a:ln w="12701" cap="flat">
              <a:solidFill>
                <a:srgbClr val="FF5C00">
                  <a:alpha val="90000"/>
                </a:srgbClr>
              </a:solidFill>
              <a:prstDash val="solid"/>
              <a:miter/>
            </a:ln>
          </p:spPr>
          <p:txBody>
            <a:bodyPr vert="horz" wrap="square" lIns="57150" tIns="78565" rIns="107140" bIns="78565" anchor="ctr" anchorCtr="0" compatLnSpc="1">
              <a:noAutofit/>
            </a:bodyPr>
            <a:lstStyle/>
            <a:p>
              <a:pPr marL="114300" marR="0" lvl="1" indent="-114300" algn="l" defTabSz="666753" rtl="0" fontAlgn="auto" hangingPunct="1">
                <a:lnSpc>
                  <a:spcPct val="90000"/>
                </a:lnSpc>
                <a:spcBef>
                  <a:spcPts val="0"/>
                </a:spcBef>
                <a:spcAft>
                  <a:spcPts val="300"/>
                </a:spcAft>
                <a:buSzPct val="100000"/>
                <a:buChar char="•"/>
                <a:tabLst/>
                <a:defRPr sz="1800" b="0" i="0" u="none" strike="noStrike" kern="0" cap="none" spc="0" baseline="0">
                  <a:solidFill>
                    <a:srgbClr val="000000"/>
                  </a:solidFill>
                  <a:uFillTx/>
                </a:defRPr>
              </a:pPr>
              <a:r>
                <a:rPr lang="sv-SE" sz="1500" b="0" i="0" u="none" strike="noStrike" kern="1200" cap="none" spc="0" baseline="0">
                  <a:solidFill>
                    <a:srgbClr val="000000"/>
                  </a:solidFill>
                  <a:uFillTx/>
                  <a:latin typeface="HelveticaNeueLT Std"/>
                </a:rPr>
                <a:t>Rabatter som följer bindningstid</a:t>
              </a:r>
            </a:p>
          </p:txBody>
        </p:sp>
        <p:sp>
          <p:nvSpPr>
            <p:cNvPr id="7" name="Freeform: Shape 18">
              <a:extLst>
                <a:ext uri="{FF2B5EF4-FFF2-40B4-BE49-F238E27FC236}">
                  <a16:creationId xmlns:a16="http://schemas.microsoft.com/office/drawing/2014/main" id="{256F6A1B-652F-7B65-D353-8A7CE6ACCA22}"/>
                </a:ext>
              </a:extLst>
            </p:cNvPr>
            <p:cNvSpPr/>
            <p:nvPr/>
          </p:nvSpPr>
          <p:spPr>
            <a:xfrm>
              <a:off x="803272" y="3550990"/>
              <a:ext cx="2994083" cy="1280013"/>
            </a:xfrm>
            <a:custGeom>
              <a:avLst/>
              <a:gdLst>
                <a:gd name="f0" fmla="val 10800000"/>
                <a:gd name="f1" fmla="val 5400000"/>
                <a:gd name="f2" fmla="val 180"/>
                <a:gd name="f3" fmla="val w"/>
                <a:gd name="f4" fmla="val h"/>
                <a:gd name="f5" fmla="val 0"/>
                <a:gd name="f6" fmla="val 2994088"/>
                <a:gd name="f7" fmla="val 1280014"/>
                <a:gd name="f8" fmla="val 213340"/>
                <a:gd name="f9" fmla="val 95516"/>
                <a:gd name="f10" fmla="val 2780748"/>
                <a:gd name="f11" fmla="val 2898572"/>
                <a:gd name="f12" fmla="val 1066674"/>
                <a:gd name="f13" fmla="val 1184498"/>
                <a:gd name="f14" fmla="+- 0 0 -90"/>
                <a:gd name="f15" fmla="*/ f3 1 2994088"/>
                <a:gd name="f16" fmla="*/ f4 1 1280014"/>
                <a:gd name="f17" fmla="val f5"/>
                <a:gd name="f18" fmla="val f6"/>
                <a:gd name="f19" fmla="val f7"/>
                <a:gd name="f20" fmla="*/ f14 f0 1"/>
                <a:gd name="f21" fmla="+- f19 0 f17"/>
                <a:gd name="f22" fmla="+- f18 0 f17"/>
                <a:gd name="f23" fmla="*/ f20 1 f2"/>
                <a:gd name="f24" fmla="*/ f22 1 2994088"/>
                <a:gd name="f25" fmla="*/ f21 1 1280014"/>
                <a:gd name="f26" fmla="*/ 0 f22 1"/>
                <a:gd name="f27" fmla="*/ 213340 f21 1"/>
                <a:gd name="f28" fmla="*/ 213340 f22 1"/>
                <a:gd name="f29" fmla="*/ 0 f21 1"/>
                <a:gd name="f30" fmla="*/ 2780748 f22 1"/>
                <a:gd name="f31" fmla="*/ 2994088 f22 1"/>
                <a:gd name="f32" fmla="*/ 1066674 f21 1"/>
                <a:gd name="f33" fmla="*/ 1280014 f21 1"/>
                <a:gd name="f34" fmla="+- f23 0 f1"/>
                <a:gd name="f35" fmla="*/ f26 1 2994088"/>
                <a:gd name="f36" fmla="*/ f27 1 1280014"/>
                <a:gd name="f37" fmla="*/ f28 1 2994088"/>
                <a:gd name="f38" fmla="*/ f29 1 1280014"/>
                <a:gd name="f39" fmla="*/ f30 1 2994088"/>
                <a:gd name="f40" fmla="*/ f31 1 2994088"/>
                <a:gd name="f41" fmla="*/ f32 1 1280014"/>
                <a:gd name="f42" fmla="*/ f33 1 1280014"/>
                <a:gd name="f43" fmla="*/ f17 1 f24"/>
                <a:gd name="f44" fmla="*/ f18 1 f24"/>
                <a:gd name="f45" fmla="*/ f17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2994088" h="1280014">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FFFFFF">
                <a:alpha val="95000"/>
              </a:srgbClr>
            </a:solidFill>
            <a:ln w="12701" cap="flat">
              <a:solidFill>
                <a:srgbClr val="E75300"/>
              </a:solidFill>
              <a:prstDash val="solid"/>
              <a:miter/>
            </a:ln>
          </p:spPr>
          <p:txBody>
            <a:bodyPr vert="horz" wrap="square" lIns="142490" tIns="102485" rIns="142490" bIns="102485" anchor="ctr" anchorCtr="1" compatLnSpc="1">
              <a:noAutofit/>
            </a:bodyPr>
            <a:lstStyle/>
            <a:p>
              <a:pPr marL="0" marR="0" lvl="0" indent="0" algn="ctr" defTabSz="933446" rtl="0" fontAlgn="auto" hangingPunct="1">
                <a:lnSpc>
                  <a:spcPct val="90000"/>
                </a:lnSpc>
                <a:spcBef>
                  <a:spcPts val="0"/>
                </a:spcBef>
                <a:spcAft>
                  <a:spcPts val="900"/>
                </a:spcAft>
                <a:buNone/>
                <a:tabLst/>
                <a:defRPr sz="1800" b="0" i="0" u="none" strike="noStrike" kern="0" cap="none" spc="0" baseline="0">
                  <a:solidFill>
                    <a:srgbClr val="000000"/>
                  </a:solidFill>
                  <a:uFillTx/>
                </a:defRPr>
              </a:pPr>
              <a:r>
                <a:rPr lang="sv-SE" sz="2100" b="0" i="0" u="none" strike="noStrike" kern="1200" cap="none" spc="0" baseline="0">
                  <a:solidFill>
                    <a:srgbClr val="000000"/>
                  </a:solidFill>
                  <a:uFillTx/>
                  <a:latin typeface="HelveticaNeueLT Std"/>
                </a:rPr>
                <a:t>Nya rabatter</a:t>
              </a:r>
            </a:p>
          </p:txBody>
        </p:sp>
        <p:sp>
          <p:nvSpPr>
            <p:cNvPr id="8" name="Freeform: Shape 19">
              <a:extLst>
                <a:ext uri="{FF2B5EF4-FFF2-40B4-BE49-F238E27FC236}">
                  <a16:creationId xmlns:a16="http://schemas.microsoft.com/office/drawing/2014/main" id="{A9BABD2B-3376-5277-BB83-DC1B2170D0A5}"/>
                </a:ext>
              </a:extLst>
            </p:cNvPr>
            <p:cNvSpPr/>
            <p:nvPr/>
          </p:nvSpPr>
          <p:spPr>
            <a:xfrm>
              <a:off x="3797366" y="5023009"/>
              <a:ext cx="5322822" cy="1024009"/>
            </a:xfrm>
            <a:custGeom>
              <a:avLst/>
              <a:gdLst>
                <a:gd name="f0" fmla="val 10800000"/>
                <a:gd name="f1" fmla="val 5400000"/>
                <a:gd name="f2" fmla="val 180"/>
                <a:gd name="f3" fmla="val w"/>
                <a:gd name="f4" fmla="val h"/>
                <a:gd name="f5" fmla="val 0"/>
                <a:gd name="f6" fmla="val 1024011"/>
                <a:gd name="f7" fmla="val 5322824"/>
                <a:gd name="f8" fmla="val 887157"/>
                <a:gd name="f9" fmla="val 4435667"/>
                <a:gd name="f10" fmla="val 4925631"/>
                <a:gd name="f11" fmla="val 1009311"/>
                <a:gd name="f12" fmla="val 5322821"/>
                <a:gd name="f13" fmla="val 991177"/>
                <a:gd name="f14" fmla="val 3"/>
                <a:gd name="f15" fmla="val 397193"/>
                <a:gd name="f16" fmla="+- 0 0 -90"/>
                <a:gd name="f17" fmla="*/ f3 1 1024011"/>
                <a:gd name="f18" fmla="*/ f4 1 5322824"/>
                <a:gd name="f19" fmla="val f5"/>
                <a:gd name="f20" fmla="val f6"/>
                <a:gd name="f21" fmla="val f7"/>
                <a:gd name="f22" fmla="*/ f16 f0 1"/>
                <a:gd name="f23" fmla="+- f21 0 f19"/>
                <a:gd name="f24" fmla="+- f20 0 f19"/>
                <a:gd name="f25" fmla="*/ f22 1 f2"/>
                <a:gd name="f26" fmla="*/ f24 1 1024011"/>
                <a:gd name="f27" fmla="*/ f23 1 5322824"/>
                <a:gd name="f28" fmla="*/ 170672 f24 1"/>
                <a:gd name="f29" fmla="*/ 0 f23 1"/>
                <a:gd name="f30" fmla="*/ 853339 f24 1"/>
                <a:gd name="f31" fmla="*/ 1024011 f24 1"/>
                <a:gd name="f32" fmla="*/ 170672 f23 1"/>
                <a:gd name="f33" fmla="*/ 5322824 f23 1"/>
                <a:gd name="f34" fmla="*/ 0 f24 1"/>
                <a:gd name="f35" fmla="+- f25 0 f1"/>
                <a:gd name="f36" fmla="*/ f28 1 1024011"/>
                <a:gd name="f37" fmla="*/ f29 1 5322824"/>
                <a:gd name="f38" fmla="*/ f30 1 1024011"/>
                <a:gd name="f39" fmla="*/ f31 1 1024011"/>
                <a:gd name="f40" fmla="*/ f32 1 5322824"/>
                <a:gd name="f41" fmla="*/ f33 1 5322824"/>
                <a:gd name="f42" fmla="*/ f34 1 1024011"/>
                <a:gd name="f43" fmla="*/ f19 1 f26"/>
                <a:gd name="f44" fmla="*/ f20 1 f26"/>
                <a:gd name="f45" fmla="*/ f19 1 f27"/>
                <a:gd name="f46" fmla="*/ f21 1 f27"/>
                <a:gd name="f47" fmla="*/ f36 1 f26"/>
                <a:gd name="f48" fmla="*/ f37 1 f27"/>
                <a:gd name="f49" fmla="*/ f38 1 f26"/>
                <a:gd name="f50" fmla="*/ f39 1 f26"/>
                <a:gd name="f51" fmla="*/ f40 1 f27"/>
                <a:gd name="f52" fmla="*/ f41 1 f27"/>
                <a:gd name="f53" fmla="*/ f42 1 f26"/>
                <a:gd name="f54" fmla="*/ f43 f17 1"/>
                <a:gd name="f55" fmla="*/ f44 f17 1"/>
                <a:gd name="f56" fmla="*/ f46 f18 1"/>
                <a:gd name="f57" fmla="*/ f45 f18 1"/>
                <a:gd name="f58" fmla="*/ f47 f17 1"/>
                <a:gd name="f59" fmla="*/ f48 f18 1"/>
                <a:gd name="f60" fmla="*/ f49 f17 1"/>
                <a:gd name="f61" fmla="*/ f50 f17 1"/>
                <a:gd name="f62" fmla="*/ f51 f18 1"/>
                <a:gd name="f63" fmla="*/ f52 f18 1"/>
                <a:gd name="f64" fmla="*/ f53 f17 1"/>
              </a:gdLst>
              <a:ahLst/>
              <a:cxnLst>
                <a:cxn ang="3cd4">
                  <a:pos x="hc" y="t"/>
                </a:cxn>
                <a:cxn ang="0">
                  <a:pos x="r" y="vc"/>
                </a:cxn>
                <a:cxn ang="cd4">
                  <a:pos x="hc" y="b"/>
                </a:cxn>
                <a:cxn ang="cd2">
                  <a:pos x="l" y="vc"/>
                </a:cxn>
                <a:cxn ang="f35">
                  <a:pos x="f58" y="f59"/>
                </a:cxn>
                <a:cxn ang="f35">
                  <a:pos x="f60" y="f59"/>
                </a:cxn>
                <a:cxn ang="f35">
                  <a:pos x="f61" y="f62"/>
                </a:cxn>
                <a:cxn ang="f35">
                  <a:pos x="f61" y="f63"/>
                </a:cxn>
                <a:cxn ang="f35">
                  <a:pos x="f61" y="f63"/>
                </a:cxn>
                <a:cxn ang="f35">
                  <a:pos x="f64" y="f63"/>
                </a:cxn>
                <a:cxn ang="f35">
                  <a:pos x="f64" y="f63"/>
                </a:cxn>
                <a:cxn ang="f35">
                  <a:pos x="f64" y="f62"/>
                </a:cxn>
                <a:cxn ang="f35">
                  <a:pos x="f58" y="f59"/>
                </a:cxn>
              </a:cxnLst>
              <a:rect l="f54" t="f57" r="f55" b="f56"/>
              <a:pathLst>
                <a:path w="1024011" h="5322824">
                  <a:moveTo>
                    <a:pt x="f6" y="f8"/>
                  </a:moveTo>
                  <a:lnTo>
                    <a:pt x="f6" y="f9"/>
                  </a:lnTo>
                  <a:cubicBezTo>
                    <a:pt x="f6" y="f10"/>
                    <a:pt x="f11" y="f12"/>
                    <a:pt x="f13" y="f12"/>
                  </a:cubicBezTo>
                  <a:lnTo>
                    <a:pt x="f5" y="f12"/>
                  </a:lnTo>
                  <a:lnTo>
                    <a:pt x="f5" y="f12"/>
                  </a:lnTo>
                  <a:lnTo>
                    <a:pt x="f5" y="f14"/>
                  </a:lnTo>
                  <a:lnTo>
                    <a:pt x="f5" y="f14"/>
                  </a:lnTo>
                  <a:lnTo>
                    <a:pt x="f13" y="f14"/>
                  </a:lnTo>
                  <a:cubicBezTo>
                    <a:pt x="f11" y="f14"/>
                    <a:pt x="f6" y="f15"/>
                    <a:pt x="f6" y="f8"/>
                  </a:cubicBezTo>
                  <a:close/>
                </a:path>
              </a:pathLst>
            </a:custGeom>
            <a:solidFill>
              <a:srgbClr val="FFFFFF">
                <a:alpha val="90000"/>
              </a:srgbClr>
            </a:solidFill>
            <a:ln w="12701" cap="flat">
              <a:solidFill>
                <a:srgbClr val="FF5C00">
                  <a:alpha val="90000"/>
                </a:srgbClr>
              </a:solidFill>
              <a:prstDash val="solid"/>
              <a:miter/>
            </a:ln>
          </p:spPr>
          <p:txBody>
            <a:bodyPr vert="horz" wrap="square" lIns="57150" tIns="78565" rIns="107140" bIns="78565" anchor="ctr" anchorCtr="0" compatLnSpc="1">
              <a:noAutofit/>
            </a:bodyPr>
            <a:lstStyle/>
            <a:p>
              <a:pPr marL="114300" marR="0" lvl="1" indent="-114300" algn="l" defTabSz="666753" rtl="0" fontAlgn="auto" hangingPunct="1">
                <a:lnSpc>
                  <a:spcPct val="90000"/>
                </a:lnSpc>
                <a:spcBef>
                  <a:spcPts val="0"/>
                </a:spcBef>
                <a:spcAft>
                  <a:spcPts val="300"/>
                </a:spcAft>
                <a:buSzPct val="100000"/>
                <a:buChar char="•"/>
                <a:tabLst/>
                <a:defRPr sz="1800" b="0" i="0" u="none" strike="noStrike" kern="0" cap="none" spc="0" baseline="0">
                  <a:solidFill>
                    <a:srgbClr val="000000"/>
                  </a:solidFill>
                  <a:uFillTx/>
                </a:defRPr>
              </a:pPr>
              <a:r>
                <a:rPr lang="sv-SE" sz="1500" b="0" i="0" u="none" strike="noStrike" kern="1200" cap="none" spc="0" baseline="0" dirty="0">
                  <a:solidFill>
                    <a:srgbClr val="000000"/>
                  </a:solidFill>
                  <a:uFillTx/>
                  <a:latin typeface="HelveticaNeueLT Std"/>
                </a:rPr>
                <a:t>5G på alla nya abonnemang</a:t>
              </a:r>
            </a:p>
            <a:p>
              <a:pPr marL="114300" marR="0" lvl="1" indent="-114300" algn="l" defTabSz="666753" rtl="0" fontAlgn="auto" hangingPunct="1">
                <a:lnSpc>
                  <a:spcPct val="90000"/>
                </a:lnSpc>
                <a:spcBef>
                  <a:spcPts val="0"/>
                </a:spcBef>
                <a:spcAft>
                  <a:spcPts val="300"/>
                </a:spcAft>
                <a:buSzPct val="100000"/>
                <a:buChar char="•"/>
                <a:tabLst/>
                <a:defRPr sz="1800" b="0" i="0" u="none" strike="noStrike" kern="0" cap="none" spc="0" baseline="0">
                  <a:solidFill>
                    <a:srgbClr val="000000"/>
                  </a:solidFill>
                  <a:uFillTx/>
                </a:defRPr>
              </a:pPr>
              <a:r>
                <a:rPr lang="sv-SE" sz="1500" b="0" i="0" u="none" strike="noStrike" kern="1200" cap="none" spc="0" baseline="0" dirty="0" err="1">
                  <a:solidFill>
                    <a:srgbClr val="000000"/>
                  </a:solidFill>
                  <a:uFillTx/>
                  <a:latin typeface="HelveticaNeueLT Std"/>
                </a:rPr>
                <a:t>Roaming</a:t>
              </a:r>
              <a:r>
                <a:rPr lang="sv-SE" sz="1500" b="0" i="0" u="none" strike="noStrike" kern="1200" cap="none" spc="0" baseline="0" dirty="0">
                  <a:solidFill>
                    <a:srgbClr val="000000"/>
                  </a:solidFill>
                  <a:uFillTx/>
                  <a:latin typeface="HelveticaNeueLT Std"/>
                </a:rPr>
                <a:t> på alla nya abonnemang</a:t>
              </a:r>
            </a:p>
            <a:p>
              <a:pPr marL="114300" marR="0" lvl="1" indent="-114300" algn="l" defTabSz="666753" rtl="0" fontAlgn="auto" hangingPunct="1">
                <a:lnSpc>
                  <a:spcPct val="90000"/>
                </a:lnSpc>
                <a:spcBef>
                  <a:spcPts val="0"/>
                </a:spcBef>
                <a:spcAft>
                  <a:spcPts val="300"/>
                </a:spcAft>
                <a:buSzPct val="100000"/>
                <a:buChar char="•"/>
                <a:tabLst/>
                <a:defRPr sz="1800" b="0" i="0" u="none" strike="noStrike" kern="0" cap="none" spc="0" baseline="0">
                  <a:solidFill>
                    <a:srgbClr val="000000"/>
                  </a:solidFill>
                  <a:uFillTx/>
                </a:defRPr>
              </a:pPr>
              <a:r>
                <a:rPr lang="sv-SE" sz="1500" b="0" i="0" u="none" strike="noStrike" kern="1200" cap="none" spc="0" baseline="0" dirty="0">
                  <a:solidFill>
                    <a:srgbClr val="000000"/>
                  </a:solidFill>
                  <a:uFillTx/>
                  <a:latin typeface="HelveticaNeueLT Std"/>
                </a:rPr>
                <a:t>FWA och GO portfölj med Routers och </a:t>
              </a:r>
              <a:r>
                <a:rPr lang="sv-SE" sz="1500" b="0" i="0" u="none" strike="noStrike" kern="1200" cap="none" spc="0" baseline="0" dirty="0" err="1">
                  <a:solidFill>
                    <a:srgbClr val="000000"/>
                  </a:solidFill>
                  <a:uFillTx/>
                  <a:latin typeface="HelveticaNeueLT Std"/>
                </a:rPr>
                <a:t>Tablets</a:t>
              </a:r>
              <a:endParaRPr lang="sv-SE" sz="1500" b="0" i="0" u="none" strike="noStrike" kern="1200" cap="none" spc="0" baseline="0" dirty="0">
                <a:solidFill>
                  <a:srgbClr val="000000"/>
                </a:solidFill>
                <a:uFillTx/>
                <a:latin typeface="HelveticaNeueLT Std"/>
              </a:endParaRPr>
            </a:p>
          </p:txBody>
        </p:sp>
        <p:sp>
          <p:nvSpPr>
            <p:cNvPr id="9" name="Freeform: Shape 20">
              <a:extLst>
                <a:ext uri="{FF2B5EF4-FFF2-40B4-BE49-F238E27FC236}">
                  <a16:creationId xmlns:a16="http://schemas.microsoft.com/office/drawing/2014/main" id="{95177A5C-C5E5-5054-0CF0-3D3182407982}"/>
                </a:ext>
              </a:extLst>
            </p:cNvPr>
            <p:cNvSpPr/>
            <p:nvPr/>
          </p:nvSpPr>
          <p:spPr>
            <a:xfrm>
              <a:off x="803272" y="4895011"/>
              <a:ext cx="2994083" cy="1280013"/>
            </a:xfrm>
            <a:custGeom>
              <a:avLst/>
              <a:gdLst>
                <a:gd name="f0" fmla="val 10800000"/>
                <a:gd name="f1" fmla="val 5400000"/>
                <a:gd name="f2" fmla="val 180"/>
                <a:gd name="f3" fmla="val w"/>
                <a:gd name="f4" fmla="val h"/>
                <a:gd name="f5" fmla="val 0"/>
                <a:gd name="f6" fmla="val 2994088"/>
                <a:gd name="f7" fmla="val 1280014"/>
                <a:gd name="f8" fmla="val 213340"/>
                <a:gd name="f9" fmla="val 95516"/>
                <a:gd name="f10" fmla="val 2780748"/>
                <a:gd name="f11" fmla="val 2898572"/>
                <a:gd name="f12" fmla="val 1066674"/>
                <a:gd name="f13" fmla="val 1184498"/>
                <a:gd name="f14" fmla="+- 0 0 -90"/>
                <a:gd name="f15" fmla="*/ f3 1 2994088"/>
                <a:gd name="f16" fmla="*/ f4 1 1280014"/>
                <a:gd name="f17" fmla="val f5"/>
                <a:gd name="f18" fmla="val f6"/>
                <a:gd name="f19" fmla="val f7"/>
                <a:gd name="f20" fmla="*/ f14 f0 1"/>
                <a:gd name="f21" fmla="+- f19 0 f17"/>
                <a:gd name="f22" fmla="+- f18 0 f17"/>
                <a:gd name="f23" fmla="*/ f20 1 f2"/>
                <a:gd name="f24" fmla="*/ f22 1 2994088"/>
                <a:gd name="f25" fmla="*/ f21 1 1280014"/>
                <a:gd name="f26" fmla="*/ 0 f22 1"/>
                <a:gd name="f27" fmla="*/ 213340 f21 1"/>
                <a:gd name="f28" fmla="*/ 213340 f22 1"/>
                <a:gd name="f29" fmla="*/ 0 f21 1"/>
                <a:gd name="f30" fmla="*/ 2780748 f22 1"/>
                <a:gd name="f31" fmla="*/ 2994088 f22 1"/>
                <a:gd name="f32" fmla="*/ 1066674 f21 1"/>
                <a:gd name="f33" fmla="*/ 1280014 f21 1"/>
                <a:gd name="f34" fmla="+- f23 0 f1"/>
                <a:gd name="f35" fmla="*/ f26 1 2994088"/>
                <a:gd name="f36" fmla="*/ f27 1 1280014"/>
                <a:gd name="f37" fmla="*/ f28 1 2994088"/>
                <a:gd name="f38" fmla="*/ f29 1 1280014"/>
                <a:gd name="f39" fmla="*/ f30 1 2994088"/>
                <a:gd name="f40" fmla="*/ f31 1 2994088"/>
                <a:gd name="f41" fmla="*/ f32 1 1280014"/>
                <a:gd name="f42" fmla="*/ f33 1 1280014"/>
                <a:gd name="f43" fmla="*/ f17 1 f24"/>
                <a:gd name="f44" fmla="*/ f18 1 f24"/>
                <a:gd name="f45" fmla="*/ f17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2994088" h="1280014">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FFFFFF">
                <a:alpha val="95000"/>
              </a:srgbClr>
            </a:solidFill>
            <a:ln w="12701" cap="flat">
              <a:solidFill>
                <a:srgbClr val="E75300"/>
              </a:solidFill>
              <a:prstDash val="solid"/>
              <a:miter/>
            </a:ln>
          </p:spPr>
          <p:txBody>
            <a:bodyPr vert="horz" wrap="square" lIns="142490" tIns="102485" rIns="142490" bIns="102485" anchor="ctr" anchorCtr="1" compatLnSpc="1">
              <a:noAutofit/>
            </a:bodyPr>
            <a:lstStyle/>
            <a:p>
              <a:pPr marL="0" marR="0" lvl="0" indent="0" algn="ctr" defTabSz="933446" rtl="0" fontAlgn="auto" hangingPunct="1">
                <a:lnSpc>
                  <a:spcPct val="90000"/>
                </a:lnSpc>
                <a:spcBef>
                  <a:spcPts val="0"/>
                </a:spcBef>
                <a:spcAft>
                  <a:spcPts val="900"/>
                </a:spcAft>
                <a:buNone/>
                <a:tabLst/>
                <a:defRPr sz="1800" b="0" i="0" u="none" strike="noStrike" kern="0" cap="none" spc="0" baseline="0">
                  <a:solidFill>
                    <a:srgbClr val="000000"/>
                  </a:solidFill>
                  <a:uFillTx/>
                </a:defRPr>
              </a:pPr>
              <a:r>
                <a:rPr lang="sv-SE" sz="2100" b="0" i="0" u="none" strike="noStrike" kern="1200" cap="none" spc="0" baseline="0">
                  <a:solidFill>
                    <a:srgbClr val="000000"/>
                  </a:solidFill>
                  <a:uFillTx/>
                  <a:latin typeface="HelveticaNeueLT Std"/>
                </a:rPr>
                <a:t>Nya värden</a:t>
              </a:r>
            </a:p>
          </p:txBody>
        </p:sp>
      </p:grpSp>
      <p:sp>
        <p:nvSpPr>
          <p:cNvPr id="10" name="Title 2">
            <a:extLst>
              <a:ext uri="{FF2B5EF4-FFF2-40B4-BE49-F238E27FC236}">
                <a16:creationId xmlns:a16="http://schemas.microsoft.com/office/drawing/2014/main" id="{2F6DC390-9D39-3849-8ED5-F24C23DF6945}"/>
              </a:ext>
            </a:extLst>
          </p:cNvPr>
          <p:cNvSpPr txBox="1">
            <a:spLocks noGrp="1"/>
          </p:cNvSpPr>
          <p:nvPr>
            <p:ph type="title"/>
          </p:nvPr>
        </p:nvSpPr>
        <p:spPr>
          <a:xfrm>
            <a:off x="803272" y="813203"/>
            <a:ext cx="10585451" cy="900107"/>
          </a:xfrm>
        </p:spPr>
        <p:txBody>
          <a:bodyPr/>
          <a:lstStyle/>
          <a:p>
            <a:pPr lvl="0"/>
            <a:r>
              <a:rPr lang="sv-SE" dirty="0">
                <a:solidFill>
                  <a:schemeClr val="tx1"/>
                </a:solidFill>
              </a:rPr>
              <a:t>Bakgrund – Bredband</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17763F-078B-DEC5-DC6C-CD31488C46AF}"/>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508" imgH="5508" progId="TCLayout.ActiveDocument.1">
                  <p:embed/>
                </p:oleObj>
              </mc:Choice>
              <mc:Fallback>
                <p:oleObj name="think-cell Slide" r:id="rId3" imgW="5508" imgH="5508" progId="TCLayout.ActiveDocument.1">
                  <p:embed/>
                  <p:pic>
                    <p:nvPicPr>
                      <p:cNvPr id="2" name="think-cell data - do not delete" hidden="1">
                        <a:extLst>
                          <a:ext uri="{FF2B5EF4-FFF2-40B4-BE49-F238E27FC236}">
                            <a16:creationId xmlns:a16="http://schemas.microsoft.com/office/drawing/2014/main" id="{7917763F-078B-DEC5-DC6C-CD31488C46AF}"/>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702EBCAD-3E34-172D-E26D-2B0C9705F775}"/>
              </a:ext>
            </a:extLst>
          </p:cNvPr>
          <p:cNvSpPr txBox="1">
            <a:spLocks noGrp="1"/>
          </p:cNvSpPr>
          <p:nvPr>
            <p:ph type="title"/>
          </p:nvPr>
        </p:nvSpPr>
        <p:spPr>
          <a:xfrm>
            <a:off x="803272" y="1010037"/>
            <a:ext cx="10585451" cy="900107"/>
          </a:xfrm>
          <a:prstGeom prst="rect">
            <a:avLst/>
          </a:prstGeom>
          <a:noFill/>
          <a:ln>
            <a:noFill/>
          </a:ln>
        </p:spPr>
        <p:txBody>
          <a:bodyPr vert="horz" wrap="square" lIns="0" tIns="0" rIns="0" bIns="0" anchor="t" anchorCtr="1" compatLnSpc="1">
            <a:noAutofit/>
          </a:bodyPr>
          <a:lstStyle/>
          <a:p>
            <a:pPr lvl="0" algn="ctr"/>
            <a:r>
              <a:rPr lang="sv-SE" sz="2000" b="0" dirty="0"/>
              <a:t>Vi går från en portfölj till en tydlig uppdelning mellan den vanliga portföljen och RAM</a:t>
            </a:r>
            <a:br>
              <a:rPr lang="sv-SE" sz="2000" b="0" dirty="0"/>
            </a:br>
            <a:br>
              <a:rPr lang="sv-SE" sz="2000" b="0" dirty="0"/>
            </a:br>
            <a:r>
              <a:rPr lang="sv-SE" sz="2000" dirty="0"/>
              <a:t>Mikro</a:t>
            </a:r>
          </a:p>
        </p:txBody>
      </p:sp>
      <p:sp>
        <p:nvSpPr>
          <p:cNvPr id="4" name="Rectangle 9">
            <a:extLst>
              <a:ext uri="{FF2B5EF4-FFF2-40B4-BE49-F238E27FC236}">
                <a16:creationId xmlns:a16="http://schemas.microsoft.com/office/drawing/2014/main" id="{8EF72BA4-3517-F3E8-F10B-CC1A9078556E}"/>
              </a:ext>
            </a:extLst>
          </p:cNvPr>
          <p:cNvSpPr/>
          <p:nvPr/>
        </p:nvSpPr>
        <p:spPr>
          <a:xfrm>
            <a:off x="1902518" y="2339026"/>
            <a:ext cx="1564373" cy="538709"/>
          </a:xfrm>
          <a:prstGeom prst="rect">
            <a:avLst/>
          </a:prstGeom>
          <a:solidFill>
            <a:srgbClr val="F2F2F2"/>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Max </a:t>
            </a:r>
            <a:r>
              <a:rPr lang="sv-SE" sz="1000" b="0" i="0" u="none" strike="noStrike" kern="1200" cap="none" spc="0" baseline="0">
                <a:solidFill>
                  <a:srgbClr val="595959"/>
                </a:solidFill>
                <a:uFillTx/>
                <a:latin typeface="HelveticaNeueLT Std"/>
              </a:rPr>
              <a:t>24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No roaming</a:t>
            </a:r>
          </a:p>
        </p:txBody>
      </p:sp>
      <p:sp>
        <p:nvSpPr>
          <p:cNvPr id="5" name="Rectangle 10">
            <a:extLst>
              <a:ext uri="{FF2B5EF4-FFF2-40B4-BE49-F238E27FC236}">
                <a16:creationId xmlns:a16="http://schemas.microsoft.com/office/drawing/2014/main" id="{531ECB87-A145-FC35-D06D-6B9A860ABAD3}"/>
              </a:ext>
            </a:extLst>
          </p:cNvPr>
          <p:cNvSpPr/>
          <p:nvPr/>
        </p:nvSpPr>
        <p:spPr>
          <a:xfrm>
            <a:off x="5171178" y="2338477"/>
            <a:ext cx="924824" cy="553486"/>
          </a:xfrm>
          <a:prstGeom prst="rect">
            <a:avLst/>
          </a:prstGeom>
          <a:solidFill>
            <a:srgbClr val="F2F2F2"/>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Bredband 15GB 1</a:t>
            </a:r>
            <a:r>
              <a:rPr lang="sv-SE" sz="1000" b="0" i="0" u="none" strike="noStrike" kern="1200" cap="none" spc="0" baseline="0">
                <a:solidFill>
                  <a:srgbClr val="595959"/>
                </a:solidFill>
                <a:uFillTx/>
                <a:latin typeface="HelveticaNeueLT Std"/>
              </a:rPr>
              <a:t>4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EU roaming</a:t>
            </a:r>
          </a:p>
        </p:txBody>
      </p:sp>
      <p:sp>
        <p:nvSpPr>
          <p:cNvPr id="6" name="Rectangle 11">
            <a:extLst>
              <a:ext uri="{FF2B5EF4-FFF2-40B4-BE49-F238E27FC236}">
                <a16:creationId xmlns:a16="http://schemas.microsoft.com/office/drawing/2014/main" id="{6C7B8F10-985D-1B73-FB95-44CBDF82E480}"/>
              </a:ext>
            </a:extLst>
          </p:cNvPr>
          <p:cNvSpPr/>
          <p:nvPr/>
        </p:nvSpPr>
        <p:spPr>
          <a:xfrm>
            <a:off x="6294885" y="2514874"/>
            <a:ext cx="1312941" cy="362861"/>
          </a:xfrm>
          <a:prstGeom prst="rect">
            <a:avLst/>
          </a:prstGeom>
          <a:solidFill>
            <a:srgbClr val="FFDECC"/>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Surfkort 5GB </a:t>
            </a:r>
            <a:r>
              <a:rPr lang="sv-SE" sz="1000" b="0" i="0" u="none" strike="noStrike" kern="1200" cap="none" spc="0" baseline="0">
                <a:solidFill>
                  <a:srgbClr val="595959"/>
                </a:solidFill>
                <a:uFillTx/>
                <a:latin typeface="HelveticaNeueLT Std"/>
              </a:rPr>
              <a:t>99kr</a:t>
            </a:r>
          </a:p>
        </p:txBody>
      </p:sp>
      <p:sp>
        <p:nvSpPr>
          <p:cNvPr id="7" name="Rectangle 12">
            <a:extLst>
              <a:ext uri="{FF2B5EF4-FFF2-40B4-BE49-F238E27FC236}">
                <a16:creationId xmlns:a16="http://schemas.microsoft.com/office/drawing/2014/main" id="{456D6E32-5372-4D3B-BF3A-0B4E43D97D18}"/>
              </a:ext>
            </a:extLst>
          </p:cNvPr>
          <p:cNvSpPr/>
          <p:nvPr/>
        </p:nvSpPr>
        <p:spPr>
          <a:xfrm>
            <a:off x="7677613" y="2508363"/>
            <a:ext cx="1312941" cy="362861"/>
          </a:xfrm>
          <a:prstGeom prst="rect">
            <a:avLst/>
          </a:prstGeom>
          <a:solidFill>
            <a:srgbClr val="FFDECC"/>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Datacard </a:t>
            </a:r>
            <a:r>
              <a:rPr lang="sv-SE" sz="1000" b="0" i="0" u="none" strike="noStrike" kern="1200" cap="none" spc="0" baseline="0">
                <a:solidFill>
                  <a:srgbClr val="595959"/>
                </a:solidFill>
                <a:uFillTx/>
                <a:latin typeface="HelveticaNeueLT Std"/>
              </a:rPr>
              <a:t>49kr</a:t>
            </a:r>
          </a:p>
        </p:txBody>
      </p:sp>
      <p:sp>
        <p:nvSpPr>
          <p:cNvPr id="8" name="Oval 13">
            <a:extLst>
              <a:ext uri="{FF2B5EF4-FFF2-40B4-BE49-F238E27FC236}">
                <a16:creationId xmlns:a16="http://schemas.microsoft.com/office/drawing/2014/main" id="{D1509C9F-6124-2FE0-62E9-215A3CD137CB}"/>
              </a:ext>
            </a:extLst>
          </p:cNvPr>
          <p:cNvSpPr/>
          <p:nvPr/>
        </p:nvSpPr>
        <p:spPr>
          <a:xfrm>
            <a:off x="3070783" y="2267236"/>
            <a:ext cx="153939" cy="13473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600" b="0" i="0" u="none" strike="noStrike" kern="1200" cap="none" spc="0" baseline="0">
                <a:solidFill>
                  <a:srgbClr val="FFFFFF"/>
                </a:solidFill>
                <a:uFillTx/>
                <a:latin typeface="HelveticaNeueLT Std"/>
              </a:rPr>
              <a:t>5G</a:t>
            </a:r>
          </a:p>
        </p:txBody>
      </p:sp>
      <p:sp>
        <p:nvSpPr>
          <p:cNvPr id="9" name="Oval 14">
            <a:extLst>
              <a:ext uri="{FF2B5EF4-FFF2-40B4-BE49-F238E27FC236}">
                <a16:creationId xmlns:a16="http://schemas.microsoft.com/office/drawing/2014/main" id="{A9F1DEFC-5620-1DDC-76B6-346081B3472B}"/>
              </a:ext>
            </a:extLst>
          </p:cNvPr>
          <p:cNvSpPr/>
          <p:nvPr/>
        </p:nvSpPr>
        <p:spPr>
          <a:xfrm>
            <a:off x="8913589" y="2421642"/>
            <a:ext cx="153939" cy="13473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600" b="0" i="0" u="none" strike="noStrike" kern="1200" cap="none" spc="0" baseline="0">
                <a:solidFill>
                  <a:srgbClr val="FFFFFF"/>
                </a:solidFill>
                <a:uFillTx/>
                <a:latin typeface="HelveticaNeueLT Std"/>
              </a:rPr>
              <a:t>5G</a:t>
            </a:r>
          </a:p>
        </p:txBody>
      </p:sp>
      <p:sp>
        <p:nvSpPr>
          <p:cNvPr id="10" name="Rectangle 15">
            <a:extLst>
              <a:ext uri="{FF2B5EF4-FFF2-40B4-BE49-F238E27FC236}">
                <a16:creationId xmlns:a16="http://schemas.microsoft.com/office/drawing/2014/main" id="{8863CCD9-99F0-7B65-07CA-3ECAB7C8E9B9}"/>
              </a:ext>
            </a:extLst>
          </p:cNvPr>
          <p:cNvSpPr/>
          <p:nvPr/>
        </p:nvSpPr>
        <p:spPr>
          <a:xfrm>
            <a:off x="3536853" y="2338477"/>
            <a:ext cx="1564373" cy="540081"/>
          </a:xfrm>
          <a:prstGeom prst="rect">
            <a:avLst/>
          </a:prstGeom>
          <a:solidFill>
            <a:srgbClr val="F2F2F2"/>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Max Avtal </a:t>
            </a:r>
            <a:r>
              <a:rPr lang="sv-SE" sz="1000" b="0" i="0" u="none" strike="noStrike" kern="1200" cap="none" spc="0" baseline="0">
                <a:solidFill>
                  <a:srgbClr val="595959"/>
                </a:solidFill>
                <a:uFillTx/>
                <a:latin typeface="HelveticaNeueLT Std"/>
              </a:rPr>
              <a:t>249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No roaming</a:t>
            </a:r>
          </a:p>
        </p:txBody>
      </p:sp>
      <p:sp>
        <p:nvSpPr>
          <p:cNvPr id="11" name="Oval 16">
            <a:extLst>
              <a:ext uri="{FF2B5EF4-FFF2-40B4-BE49-F238E27FC236}">
                <a16:creationId xmlns:a16="http://schemas.microsoft.com/office/drawing/2014/main" id="{76CAEEBC-4E16-8A80-EDFA-5CB3227344A0}"/>
              </a:ext>
            </a:extLst>
          </p:cNvPr>
          <p:cNvSpPr/>
          <p:nvPr/>
        </p:nvSpPr>
        <p:spPr>
          <a:xfrm>
            <a:off x="5027910" y="2285881"/>
            <a:ext cx="153939" cy="13473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600" b="0" i="0" u="none" strike="noStrike" kern="1200" cap="none" spc="0" baseline="0">
                <a:solidFill>
                  <a:srgbClr val="FFFFFF"/>
                </a:solidFill>
                <a:uFillTx/>
                <a:latin typeface="HelveticaNeueLT Std"/>
              </a:rPr>
              <a:t>5G</a:t>
            </a:r>
          </a:p>
        </p:txBody>
      </p:sp>
      <p:sp>
        <p:nvSpPr>
          <p:cNvPr id="12" name="TextBox 19">
            <a:extLst>
              <a:ext uri="{FF2B5EF4-FFF2-40B4-BE49-F238E27FC236}">
                <a16:creationId xmlns:a16="http://schemas.microsoft.com/office/drawing/2014/main" id="{2FDD6681-9AEC-4281-93ED-F559AA62D0F6}"/>
              </a:ext>
            </a:extLst>
          </p:cNvPr>
          <p:cNvSpPr txBox="1"/>
          <p:nvPr/>
        </p:nvSpPr>
        <p:spPr>
          <a:xfrm>
            <a:off x="-10479" y="2356710"/>
            <a:ext cx="1948906" cy="523219"/>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0" i="0" u="none" strike="noStrike" kern="1200" cap="none" spc="0" baseline="0">
                <a:solidFill>
                  <a:srgbClr val="000000"/>
                </a:solidFill>
                <a:uFillTx/>
                <a:latin typeface="HelveticaNeueLT Std"/>
              </a:rPr>
              <a:t>Current portfolio – Regular and Frame</a:t>
            </a:r>
          </a:p>
        </p:txBody>
      </p:sp>
      <p:sp>
        <p:nvSpPr>
          <p:cNvPr id="13" name="Isosceles Triangle 2">
            <a:extLst>
              <a:ext uri="{FF2B5EF4-FFF2-40B4-BE49-F238E27FC236}">
                <a16:creationId xmlns:a16="http://schemas.microsoft.com/office/drawing/2014/main" id="{8362BC35-F146-2DB6-B0D2-23052F21E572}"/>
              </a:ext>
            </a:extLst>
          </p:cNvPr>
          <p:cNvSpPr/>
          <p:nvPr/>
        </p:nvSpPr>
        <p:spPr>
          <a:xfrm rot="10799991">
            <a:off x="3843223" y="3040865"/>
            <a:ext cx="4505568" cy="776261"/>
          </a:xfrm>
          <a:custGeom>
            <a:avLst>
              <a:gd name="f8" fmla="val 50000"/>
            </a:avLst>
            <a:gdLst>
              <a:gd name="f1" fmla="val 10800000"/>
              <a:gd name="f2" fmla="val 5400000"/>
              <a:gd name="f3" fmla="val 180"/>
              <a:gd name="f4" fmla="val w"/>
              <a:gd name="f5" fmla="val h"/>
              <a:gd name="f6" fmla="val ss"/>
              <a:gd name="f7" fmla="val 0"/>
              <a:gd name="f8" fmla="val 50000"/>
              <a:gd name="f9" fmla="+- 0 0 -360"/>
              <a:gd name="f10" fmla="+- 0 0 -270"/>
              <a:gd name="f11" fmla="+- 0 0 -180"/>
              <a:gd name="f12" fmla="+- 0 0 -90"/>
              <a:gd name="f13" fmla="abs f4"/>
              <a:gd name="f14" fmla="abs f5"/>
              <a:gd name="f15" fmla="abs f6"/>
              <a:gd name="f16" fmla="val f7"/>
              <a:gd name="f17" fmla="val f8"/>
              <a:gd name="f18" fmla="*/ f9 f1 1"/>
              <a:gd name="f19" fmla="*/ f10 f1 1"/>
              <a:gd name="f20" fmla="*/ f11 f1 1"/>
              <a:gd name="f21" fmla="*/ f12 f1 1"/>
              <a:gd name="f22" fmla="?: f13 f4 1"/>
              <a:gd name="f23" fmla="?: f14 f5 1"/>
              <a:gd name="f24" fmla="?: f15 f6 1"/>
              <a:gd name="f25" fmla="*/ f18 1 f3"/>
              <a:gd name="f26" fmla="*/ f19 1 f3"/>
              <a:gd name="f27" fmla="*/ f20 1 f3"/>
              <a:gd name="f28" fmla="*/ f21 1 f3"/>
              <a:gd name="f29" fmla="*/ f22 1 21600"/>
              <a:gd name="f30" fmla="*/ f23 1 21600"/>
              <a:gd name="f31" fmla="*/ 21600 f22 1"/>
              <a:gd name="f32" fmla="*/ 21600 f23 1"/>
              <a:gd name="f33" fmla="+- f25 0 f2"/>
              <a:gd name="f34" fmla="+- f26 0 f2"/>
              <a:gd name="f35" fmla="+- f27 0 f2"/>
              <a:gd name="f36" fmla="+- f28 0 f2"/>
              <a:gd name="f37" fmla="min f30 f29"/>
              <a:gd name="f38" fmla="*/ f31 1 f24"/>
              <a:gd name="f39" fmla="*/ f32 1 f24"/>
              <a:gd name="f40" fmla="val f38"/>
              <a:gd name="f41" fmla="val f39"/>
              <a:gd name="f42" fmla="*/ f16 f37 1"/>
              <a:gd name="f43" fmla="+- f41 0 f16"/>
              <a:gd name="f44" fmla="+- f40 0 f16"/>
              <a:gd name="f45" fmla="*/ f41 f37 1"/>
              <a:gd name="f46" fmla="*/ f40 f37 1"/>
              <a:gd name="f47" fmla="*/ f43 1 2"/>
              <a:gd name="f48" fmla="*/ f44 1 2"/>
              <a:gd name="f49" fmla="*/ f44 f17 1"/>
              <a:gd name="f50" fmla="+- f16 f47 0"/>
              <a:gd name="f51" fmla="*/ f49 1 200000"/>
              <a:gd name="f52" fmla="*/ f49 1 100000"/>
              <a:gd name="f53" fmla="+- f51 f48 0"/>
              <a:gd name="f54" fmla="*/ f51 f37 1"/>
              <a:gd name="f55" fmla="*/ f50 f37 1"/>
              <a:gd name="f56" fmla="*/ f52 f37 1"/>
              <a:gd name="f57" fmla="*/ f53 f37 1"/>
            </a:gdLst>
            <a:ahLst/>
            <a:cxnLst>
              <a:cxn ang="3cd4">
                <a:pos x="hc" y="t"/>
              </a:cxn>
              <a:cxn ang="0">
                <a:pos x="r" y="vc"/>
              </a:cxn>
              <a:cxn ang="cd4">
                <a:pos x="hc" y="b"/>
              </a:cxn>
              <a:cxn ang="cd2">
                <a:pos x="l" y="vc"/>
              </a:cxn>
              <a:cxn ang="f33">
                <a:pos x="f56" y="f42"/>
              </a:cxn>
              <a:cxn ang="f34">
                <a:pos x="f54" y="f55"/>
              </a:cxn>
              <a:cxn ang="f35">
                <a:pos x="f42" y="f45"/>
              </a:cxn>
              <a:cxn ang="f35">
                <a:pos x="f56" y="f45"/>
              </a:cxn>
              <a:cxn ang="f35">
                <a:pos x="f46" y="f45"/>
              </a:cxn>
              <a:cxn ang="f36">
                <a:pos x="f57" y="f55"/>
              </a:cxn>
            </a:cxnLst>
            <a:rect l="f54" t="f55" r="f57" b="f45"/>
            <a:pathLst>
              <a:path>
                <a:moveTo>
                  <a:pt x="f42" y="f45"/>
                </a:moveTo>
                <a:lnTo>
                  <a:pt x="f56" y="f42"/>
                </a:lnTo>
                <a:lnTo>
                  <a:pt x="f46" y="f45"/>
                </a:lnTo>
                <a:close/>
              </a:path>
            </a:pathLst>
          </a:custGeom>
          <a:solidFill>
            <a:srgbClr val="7F7F7F"/>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FFFFFF"/>
              </a:solidFill>
              <a:uFillTx/>
              <a:latin typeface="HelveticaNeueLT Std"/>
            </a:endParaRPr>
          </a:p>
        </p:txBody>
      </p:sp>
      <p:sp>
        <p:nvSpPr>
          <p:cNvPr id="14" name="Rectangle 3">
            <a:extLst>
              <a:ext uri="{FF2B5EF4-FFF2-40B4-BE49-F238E27FC236}">
                <a16:creationId xmlns:a16="http://schemas.microsoft.com/office/drawing/2014/main" id="{EA4F48E1-0F01-6453-EE8F-97C06E64017F}"/>
              </a:ext>
            </a:extLst>
          </p:cNvPr>
          <p:cNvSpPr/>
          <p:nvPr/>
        </p:nvSpPr>
        <p:spPr>
          <a:xfrm>
            <a:off x="1902518" y="4156021"/>
            <a:ext cx="1564373" cy="733147"/>
          </a:xfrm>
          <a:prstGeom prst="rect">
            <a:avLst/>
          </a:prstGeom>
          <a:solidFill>
            <a:srgbClr val="FFD066"/>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Max 349</a:t>
            </a:r>
            <a:r>
              <a:rPr lang="sv-SE" sz="1000" b="0" i="0" u="none" strike="noStrike" kern="1200" cap="none" spc="0" baseline="0">
                <a:solidFill>
                  <a:srgbClr val="595959"/>
                </a:solidFill>
                <a:uFillTx/>
                <a:latin typeface="HelveticaNeueLT Std"/>
              </a:rPr>
              <a:t>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100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1000Mbit/s speed</a:t>
            </a:r>
          </a:p>
        </p:txBody>
      </p:sp>
      <p:sp>
        <p:nvSpPr>
          <p:cNvPr id="15" name="Rectangle 18">
            <a:extLst>
              <a:ext uri="{FF2B5EF4-FFF2-40B4-BE49-F238E27FC236}">
                <a16:creationId xmlns:a16="http://schemas.microsoft.com/office/drawing/2014/main" id="{9B131FEC-60D2-7737-7653-2739DCE9725A}"/>
              </a:ext>
            </a:extLst>
          </p:cNvPr>
          <p:cNvSpPr/>
          <p:nvPr/>
        </p:nvSpPr>
        <p:spPr>
          <a:xfrm>
            <a:off x="3534265" y="4156021"/>
            <a:ext cx="1312941" cy="733147"/>
          </a:xfrm>
          <a:prstGeom prst="rect">
            <a:avLst/>
          </a:prstGeom>
          <a:solidFill>
            <a:srgbClr val="FFD066"/>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200GB 249</a:t>
            </a:r>
            <a:r>
              <a:rPr lang="sv-SE" sz="1000" b="0" i="0" u="none" strike="noStrike" kern="1200" cap="none" spc="0" baseline="0">
                <a:solidFill>
                  <a:srgbClr val="595959"/>
                </a:solidFill>
                <a:uFillTx/>
                <a:latin typeface="HelveticaNeueLT Std"/>
              </a:rPr>
              <a:t>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50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300Mbit/s speed</a:t>
            </a:r>
          </a:p>
        </p:txBody>
      </p:sp>
      <p:sp>
        <p:nvSpPr>
          <p:cNvPr id="16" name="Rectangle 21">
            <a:extLst>
              <a:ext uri="{FF2B5EF4-FFF2-40B4-BE49-F238E27FC236}">
                <a16:creationId xmlns:a16="http://schemas.microsoft.com/office/drawing/2014/main" id="{D9402AB4-B200-4C18-F1B7-A1E051BCAB0B}"/>
              </a:ext>
            </a:extLst>
          </p:cNvPr>
          <p:cNvSpPr/>
          <p:nvPr/>
        </p:nvSpPr>
        <p:spPr>
          <a:xfrm>
            <a:off x="4914570" y="4156021"/>
            <a:ext cx="1312941" cy="733147"/>
          </a:xfrm>
          <a:prstGeom prst="rect">
            <a:avLst/>
          </a:prstGeom>
          <a:solidFill>
            <a:srgbClr val="FFDECC"/>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50GB 199</a:t>
            </a:r>
            <a:r>
              <a:rPr lang="sv-SE" sz="1000" b="0" i="0" u="none" strike="noStrike" kern="1200" cap="none" spc="0" baseline="0">
                <a:solidFill>
                  <a:srgbClr val="595959"/>
                </a:solidFill>
                <a:uFillTx/>
                <a:latin typeface="HelveticaNeueLT Std"/>
              </a:rPr>
              <a:t>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50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100Mbit/s speed</a:t>
            </a:r>
          </a:p>
        </p:txBody>
      </p:sp>
      <p:sp>
        <p:nvSpPr>
          <p:cNvPr id="17" name="Rectangle 23">
            <a:extLst>
              <a:ext uri="{FF2B5EF4-FFF2-40B4-BE49-F238E27FC236}">
                <a16:creationId xmlns:a16="http://schemas.microsoft.com/office/drawing/2014/main" id="{75DCA47E-DDD7-6C8E-2193-A9E87AAC4565}"/>
              </a:ext>
            </a:extLst>
          </p:cNvPr>
          <p:cNvSpPr/>
          <p:nvPr/>
        </p:nvSpPr>
        <p:spPr>
          <a:xfrm>
            <a:off x="6294885" y="4153753"/>
            <a:ext cx="1312941" cy="733147"/>
          </a:xfrm>
          <a:prstGeom prst="rect">
            <a:avLst/>
          </a:prstGeom>
          <a:solidFill>
            <a:srgbClr val="FFDECC"/>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20GB 169</a:t>
            </a:r>
            <a:r>
              <a:rPr lang="sv-SE" sz="1000" b="0" i="0" u="none" strike="noStrike" kern="1200" cap="none" spc="0" baseline="0">
                <a:solidFill>
                  <a:srgbClr val="595959"/>
                </a:solidFill>
                <a:uFillTx/>
                <a:latin typeface="HelveticaNeueLT Std"/>
              </a:rPr>
              <a:t>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20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100Mbit/s speed</a:t>
            </a:r>
          </a:p>
        </p:txBody>
      </p:sp>
      <p:sp>
        <p:nvSpPr>
          <p:cNvPr id="18" name="Rectangle 24">
            <a:extLst>
              <a:ext uri="{FF2B5EF4-FFF2-40B4-BE49-F238E27FC236}">
                <a16:creationId xmlns:a16="http://schemas.microsoft.com/office/drawing/2014/main" id="{FD89D365-147A-E781-DFA0-B3DAE26E8EA6}"/>
              </a:ext>
            </a:extLst>
          </p:cNvPr>
          <p:cNvSpPr/>
          <p:nvPr/>
        </p:nvSpPr>
        <p:spPr>
          <a:xfrm>
            <a:off x="7677613" y="4153753"/>
            <a:ext cx="1312941" cy="733147"/>
          </a:xfrm>
          <a:prstGeom prst="rect">
            <a:avLst/>
          </a:prstGeom>
          <a:solidFill>
            <a:srgbClr val="FFDECC"/>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1" i="0" u="none" strike="noStrike" kern="1200" cap="none" spc="0" baseline="0">
                <a:solidFill>
                  <a:srgbClr val="595959"/>
                </a:solidFill>
                <a:uFillTx/>
                <a:latin typeface="HelveticaNeueLT Std"/>
              </a:rPr>
              <a:t>3Företag Bredband 5GB 99</a:t>
            </a:r>
            <a:r>
              <a:rPr lang="sv-SE" sz="1000" b="0" i="0" u="none" strike="noStrike" kern="1200" cap="none" spc="0" baseline="0">
                <a:solidFill>
                  <a:srgbClr val="595959"/>
                </a:solidFill>
                <a:uFillTx/>
                <a:latin typeface="HelveticaNeueLT Std"/>
              </a:rPr>
              <a:t>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5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00" b="0" i="0" u="none" strike="noStrike" kern="1200" cap="none" spc="0" baseline="0">
                <a:solidFill>
                  <a:srgbClr val="595959"/>
                </a:solidFill>
                <a:uFillTx/>
                <a:latin typeface="HelveticaNeueLT Std"/>
              </a:rPr>
              <a:t>100Mbit/s speed</a:t>
            </a:r>
          </a:p>
        </p:txBody>
      </p:sp>
      <p:sp>
        <p:nvSpPr>
          <p:cNvPr id="19" name="Rectangle 27">
            <a:extLst>
              <a:ext uri="{FF2B5EF4-FFF2-40B4-BE49-F238E27FC236}">
                <a16:creationId xmlns:a16="http://schemas.microsoft.com/office/drawing/2014/main" id="{95DBC5A0-1C3B-294E-6FD4-82ACC7B3DE78}"/>
              </a:ext>
            </a:extLst>
          </p:cNvPr>
          <p:cNvSpPr/>
          <p:nvPr/>
        </p:nvSpPr>
        <p:spPr>
          <a:xfrm>
            <a:off x="9055504" y="4352562"/>
            <a:ext cx="1312941" cy="534338"/>
          </a:xfrm>
          <a:prstGeom prst="rect">
            <a:avLst/>
          </a:prstGeom>
          <a:solidFill>
            <a:srgbClr val="C1FFD7"/>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900" b="1" i="0" u="none" strike="noStrike" kern="1200" cap="none" spc="0" baseline="0">
                <a:solidFill>
                  <a:srgbClr val="595959"/>
                </a:solidFill>
                <a:uFillTx/>
                <a:latin typeface="HelveticaNeueLT Std"/>
              </a:rPr>
              <a:t>Data card 69kr</a:t>
            </a:r>
            <a:endParaRPr lang="sv-SE" sz="900" b="0" i="0" u="none" strike="noStrike" kern="1200" cap="none" spc="0" baseline="0">
              <a:solidFill>
                <a:srgbClr val="595959"/>
              </a:solidFill>
              <a:uFillTx/>
              <a:latin typeface="HelveticaNeueLT Std"/>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900" b="0" i="0" u="none" strike="noStrike" kern="1200" cap="none" spc="0" baseline="0">
                <a:solidFill>
                  <a:srgbClr val="595959"/>
                </a:solidFill>
                <a:uFillTx/>
                <a:latin typeface="HelveticaNeueLT Std"/>
              </a:rPr>
              <a:t>100GB SE, 100GB EU</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900" b="0" i="0" u="none" strike="noStrike" kern="1200" cap="none" spc="0" baseline="0">
                <a:solidFill>
                  <a:srgbClr val="595959"/>
                </a:solidFill>
                <a:uFillTx/>
                <a:latin typeface="HelveticaNeueLT Std"/>
              </a:rPr>
              <a:t>100Mbit/s speed</a:t>
            </a:r>
          </a:p>
        </p:txBody>
      </p:sp>
      <p:sp>
        <p:nvSpPr>
          <p:cNvPr id="20" name="Rectangle: Rounded Corners 28">
            <a:extLst>
              <a:ext uri="{FF2B5EF4-FFF2-40B4-BE49-F238E27FC236}">
                <a16:creationId xmlns:a16="http://schemas.microsoft.com/office/drawing/2014/main" id="{1B866588-B5FB-78FE-899B-82C15C8409B4}"/>
              </a:ext>
            </a:extLst>
          </p:cNvPr>
          <p:cNvSpPr/>
          <p:nvPr/>
        </p:nvSpPr>
        <p:spPr>
          <a:xfrm>
            <a:off x="10433386" y="4484802"/>
            <a:ext cx="1390985" cy="402098"/>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0000"/>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50" b="0" i="0" u="none" strike="noStrike" kern="1200" cap="none" spc="0" baseline="0">
                <a:solidFill>
                  <a:srgbClr val="FFFFFF"/>
                </a:solidFill>
                <a:uFillTx/>
                <a:latin typeface="HelveticaNeueLT Std"/>
              </a:rPr>
              <a:t>Including binding discount</a:t>
            </a:r>
          </a:p>
        </p:txBody>
      </p:sp>
      <p:sp>
        <p:nvSpPr>
          <p:cNvPr id="21" name="Rectangle: Rounded Corners 29">
            <a:extLst>
              <a:ext uri="{FF2B5EF4-FFF2-40B4-BE49-F238E27FC236}">
                <a16:creationId xmlns:a16="http://schemas.microsoft.com/office/drawing/2014/main" id="{1E7E72D8-ED57-F0AB-61C0-F1747B738D20}"/>
              </a:ext>
            </a:extLst>
          </p:cNvPr>
          <p:cNvSpPr/>
          <p:nvPr/>
        </p:nvSpPr>
        <p:spPr>
          <a:xfrm>
            <a:off x="10465582" y="2506891"/>
            <a:ext cx="1390985" cy="402098"/>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0000"/>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050" b="0" i="0" u="none" strike="noStrike" kern="1200" cap="none" spc="0" baseline="0">
                <a:solidFill>
                  <a:srgbClr val="FFFFFF"/>
                </a:solidFill>
                <a:uFillTx/>
                <a:latin typeface="HelveticaNeueLT Std"/>
              </a:rPr>
              <a:t>Including binding discount</a:t>
            </a:r>
          </a:p>
        </p:txBody>
      </p:sp>
      <p:sp>
        <p:nvSpPr>
          <p:cNvPr id="22" name="TextBox 30">
            <a:extLst>
              <a:ext uri="{FF2B5EF4-FFF2-40B4-BE49-F238E27FC236}">
                <a16:creationId xmlns:a16="http://schemas.microsoft.com/office/drawing/2014/main" id="{D93DA111-5F4A-80B9-EEBA-78002A648C0C}"/>
              </a:ext>
            </a:extLst>
          </p:cNvPr>
          <p:cNvSpPr txBox="1"/>
          <p:nvPr/>
        </p:nvSpPr>
        <p:spPr>
          <a:xfrm>
            <a:off x="0" y="4346307"/>
            <a:ext cx="1948906" cy="276999"/>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New portfolio - Regular</a:t>
            </a:r>
          </a:p>
        </p:txBody>
      </p:sp>
      <p:sp>
        <p:nvSpPr>
          <p:cNvPr id="23" name="Oval 22">
            <a:extLst>
              <a:ext uri="{FF2B5EF4-FFF2-40B4-BE49-F238E27FC236}">
                <a16:creationId xmlns:a16="http://schemas.microsoft.com/office/drawing/2014/main" id="{5C280945-EED4-C447-24E9-9C61AA1A92BA}"/>
              </a:ext>
            </a:extLst>
          </p:cNvPr>
          <p:cNvSpPr/>
          <p:nvPr/>
        </p:nvSpPr>
        <p:spPr>
          <a:xfrm>
            <a:off x="1542428" y="4278934"/>
            <a:ext cx="153939" cy="13473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0000"/>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600" b="0" i="0" u="none" strike="noStrike" kern="1200" cap="none" spc="0" baseline="0">
                <a:solidFill>
                  <a:srgbClr val="FFFFFF"/>
                </a:solidFill>
                <a:uFillTx/>
                <a:latin typeface="HelveticaNeueLT Std"/>
              </a:rPr>
              <a:t>5G</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332143C-9B91-7E47-1767-96DF5B303F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think-cell data - do not delete" hidden="1">
                        <a:extLst>
                          <a:ext uri="{FF2B5EF4-FFF2-40B4-BE49-F238E27FC236}">
                            <a16:creationId xmlns:a16="http://schemas.microsoft.com/office/drawing/2014/main" id="{0332143C-9B91-7E47-1767-96DF5B303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2" name="Straight Connector 41">
            <a:extLst>
              <a:ext uri="{FF2B5EF4-FFF2-40B4-BE49-F238E27FC236}">
                <a16:creationId xmlns:a16="http://schemas.microsoft.com/office/drawing/2014/main" id="{A4D60FD2-A909-4954-F3DA-C75157C02BE1}"/>
              </a:ext>
            </a:extLst>
          </p:cNvPr>
          <p:cNvCxnSpPr>
            <a:cxnSpLocks/>
          </p:cNvCxnSpPr>
          <p:nvPr/>
        </p:nvCxnSpPr>
        <p:spPr>
          <a:xfrm>
            <a:off x="4309710" y="1575351"/>
            <a:ext cx="6626"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3233093-9E6D-4698-65B6-3F3EC529DA8F}"/>
              </a:ext>
            </a:extLst>
          </p:cNvPr>
          <p:cNvCxnSpPr>
            <a:cxnSpLocks/>
          </p:cNvCxnSpPr>
          <p:nvPr/>
        </p:nvCxnSpPr>
        <p:spPr>
          <a:xfrm>
            <a:off x="2399521" y="1536948"/>
            <a:ext cx="0"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BCDBAC0A-6471-72EE-4C37-5A30DBC2499D}"/>
              </a:ext>
            </a:extLst>
          </p:cNvPr>
          <p:cNvSpPr/>
          <p:nvPr/>
        </p:nvSpPr>
        <p:spPr>
          <a:xfrm>
            <a:off x="11231081" y="5602007"/>
            <a:ext cx="725557" cy="1003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ectangle: Rounded Corners 14">
            <a:extLst>
              <a:ext uri="{FF2B5EF4-FFF2-40B4-BE49-F238E27FC236}">
                <a16:creationId xmlns:a16="http://schemas.microsoft.com/office/drawing/2014/main" id="{65463825-9A4D-0344-3BA5-516E5BE660B5}"/>
              </a:ext>
            </a:extLst>
          </p:cNvPr>
          <p:cNvSpPr/>
          <p:nvPr/>
        </p:nvSpPr>
        <p:spPr>
          <a:xfrm>
            <a:off x="583563" y="1933160"/>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Max</a:t>
            </a:r>
          </a:p>
        </p:txBody>
      </p:sp>
      <p:sp>
        <p:nvSpPr>
          <p:cNvPr id="17" name="Rectangle: Rounded Corners 16">
            <a:extLst>
              <a:ext uri="{FF2B5EF4-FFF2-40B4-BE49-F238E27FC236}">
                <a16:creationId xmlns:a16="http://schemas.microsoft.com/office/drawing/2014/main" id="{3ED62E23-A500-21BB-D1B2-9DF82809AE3D}"/>
              </a:ext>
            </a:extLst>
          </p:cNvPr>
          <p:cNvSpPr/>
          <p:nvPr/>
        </p:nvSpPr>
        <p:spPr>
          <a:xfrm>
            <a:off x="2506218" y="1933160"/>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200GB</a:t>
            </a:r>
          </a:p>
        </p:txBody>
      </p:sp>
      <p:sp>
        <p:nvSpPr>
          <p:cNvPr id="19" name="Rectangle 18">
            <a:extLst>
              <a:ext uri="{FF2B5EF4-FFF2-40B4-BE49-F238E27FC236}">
                <a16:creationId xmlns:a16="http://schemas.microsoft.com/office/drawing/2014/main" id="{25BE7BEE-74D7-FF11-6D11-E78247B3CD07}"/>
              </a:ext>
            </a:extLst>
          </p:cNvPr>
          <p:cNvSpPr/>
          <p:nvPr/>
        </p:nvSpPr>
        <p:spPr>
          <a:xfrm>
            <a:off x="583561" y="1391477"/>
            <a:ext cx="3623001" cy="367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ATL</a:t>
            </a:r>
          </a:p>
        </p:txBody>
      </p:sp>
      <p:sp>
        <p:nvSpPr>
          <p:cNvPr id="24" name="Rectangle 23">
            <a:extLst>
              <a:ext uri="{FF2B5EF4-FFF2-40B4-BE49-F238E27FC236}">
                <a16:creationId xmlns:a16="http://schemas.microsoft.com/office/drawing/2014/main" id="{65F250CC-C2ED-0A14-C08A-9B19BB08DCB0}"/>
              </a:ext>
            </a:extLst>
          </p:cNvPr>
          <p:cNvSpPr/>
          <p:nvPr/>
        </p:nvSpPr>
        <p:spPr>
          <a:xfrm>
            <a:off x="2497937" y="4035285"/>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200GB</a:t>
            </a:r>
          </a:p>
        </p:txBody>
      </p:sp>
      <p:sp>
        <p:nvSpPr>
          <p:cNvPr id="28" name="Rectangle 27">
            <a:extLst>
              <a:ext uri="{FF2B5EF4-FFF2-40B4-BE49-F238E27FC236}">
                <a16:creationId xmlns:a16="http://schemas.microsoft.com/office/drawing/2014/main" id="{63340051-06A4-DED6-68A5-02012D901952}"/>
              </a:ext>
            </a:extLst>
          </p:cNvPr>
          <p:cNvSpPr/>
          <p:nvPr/>
        </p:nvSpPr>
        <p:spPr>
          <a:xfrm>
            <a:off x="573787" y="4548496"/>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00GB EU</a:t>
            </a:r>
          </a:p>
        </p:txBody>
      </p:sp>
      <p:sp>
        <p:nvSpPr>
          <p:cNvPr id="30" name="Rectangle 29">
            <a:extLst>
              <a:ext uri="{FF2B5EF4-FFF2-40B4-BE49-F238E27FC236}">
                <a16:creationId xmlns:a16="http://schemas.microsoft.com/office/drawing/2014/main" id="{B56F448C-A8FA-27D4-8441-FF84E821CBF9}"/>
              </a:ext>
            </a:extLst>
          </p:cNvPr>
          <p:cNvSpPr/>
          <p:nvPr/>
        </p:nvSpPr>
        <p:spPr>
          <a:xfrm>
            <a:off x="2496442" y="4548496"/>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0GB EU</a:t>
            </a:r>
          </a:p>
        </p:txBody>
      </p:sp>
      <p:sp>
        <p:nvSpPr>
          <p:cNvPr id="47" name="TextBox 46">
            <a:extLst>
              <a:ext uri="{FF2B5EF4-FFF2-40B4-BE49-F238E27FC236}">
                <a16:creationId xmlns:a16="http://schemas.microsoft.com/office/drawing/2014/main" id="{7A995EEA-FAC3-3409-957D-A5A8388FA9D5}"/>
              </a:ext>
            </a:extLst>
          </p:cNvPr>
          <p:cNvSpPr txBox="1"/>
          <p:nvPr/>
        </p:nvSpPr>
        <p:spPr>
          <a:xfrm>
            <a:off x="583561" y="2673627"/>
            <a:ext cx="1728847" cy="500137"/>
          </a:xfrm>
          <a:prstGeom prst="rect">
            <a:avLst/>
          </a:prstGeom>
          <a:noFill/>
        </p:spPr>
        <p:txBody>
          <a:bodyPr wrap="square" rtlCol="0">
            <a:spAutoFit/>
          </a:bodyPr>
          <a:lstStyle/>
          <a:p>
            <a:pPr algn="ctr"/>
            <a:r>
              <a:rPr lang="sv-SE" sz="1600" b="1"/>
              <a:t>349 kr</a:t>
            </a:r>
          </a:p>
          <a:p>
            <a:pPr algn="ctr"/>
            <a:r>
              <a:rPr lang="sv-SE" sz="1000"/>
              <a:t>399 kr (utan bindning)</a:t>
            </a:r>
          </a:p>
        </p:txBody>
      </p:sp>
      <p:sp>
        <p:nvSpPr>
          <p:cNvPr id="48" name="TextBox 47">
            <a:extLst>
              <a:ext uri="{FF2B5EF4-FFF2-40B4-BE49-F238E27FC236}">
                <a16:creationId xmlns:a16="http://schemas.microsoft.com/office/drawing/2014/main" id="{5E1958C7-CB11-34CA-789C-0CEE584B837E}"/>
              </a:ext>
            </a:extLst>
          </p:cNvPr>
          <p:cNvSpPr txBox="1"/>
          <p:nvPr/>
        </p:nvSpPr>
        <p:spPr>
          <a:xfrm>
            <a:off x="2497937" y="2688603"/>
            <a:ext cx="1728847" cy="500137"/>
          </a:xfrm>
          <a:prstGeom prst="rect">
            <a:avLst/>
          </a:prstGeom>
          <a:noFill/>
        </p:spPr>
        <p:txBody>
          <a:bodyPr wrap="square" rtlCol="0">
            <a:spAutoFit/>
          </a:bodyPr>
          <a:lstStyle/>
          <a:p>
            <a:pPr algn="ctr"/>
            <a:r>
              <a:rPr lang="sv-SE" sz="1600" b="1"/>
              <a:t>249 kr</a:t>
            </a:r>
          </a:p>
          <a:p>
            <a:pPr algn="ctr"/>
            <a:r>
              <a:rPr lang="sv-SE" sz="1000"/>
              <a:t>299 kr (utan bindning)</a:t>
            </a:r>
          </a:p>
        </p:txBody>
      </p:sp>
      <p:sp>
        <p:nvSpPr>
          <p:cNvPr id="2" name="Title 4">
            <a:extLst>
              <a:ext uri="{FF2B5EF4-FFF2-40B4-BE49-F238E27FC236}">
                <a16:creationId xmlns:a16="http://schemas.microsoft.com/office/drawing/2014/main" id="{61A83D32-A9A4-6788-060C-5FEFB173B43C}"/>
              </a:ext>
            </a:extLst>
          </p:cNvPr>
          <p:cNvSpPr>
            <a:spLocks noGrp="1"/>
          </p:cNvSpPr>
          <p:nvPr>
            <p:ph type="title"/>
          </p:nvPr>
        </p:nvSpPr>
        <p:spPr>
          <a:xfrm>
            <a:off x="924337" y="519090"/>
            <a:ext cx="10585450" cy="900112"/>
          </a:xfrm>
        </p:spPr>
        <p:txBody>
          <a:bodyPr vert="horz"/>
          <a:lstStyle/>
          <a:p>
            <a:r>
              <a:rPr lang="sv-SE" sz="4000" dirty="0"/>
              <a:t>Översikt bredbandsportföljen - Mikro</a:t>
            </a:r>
          </a:p>
        </p:txBody>
      </p:sp>
      <p:sp>
        <p:nvSpPr>
          <p:cNvPr id="8" name="Rectangle 7">
            <a:extLst>
              <a:ext uri="{FF2B5EF4-FFF2-40B4-BE49-F238E27FC236}">
                <a16:creationId xmlns:a16="http://schemas.microsoft.com/office/drawing/2014/main" id="{F5EEC0F0-2744-0F0F-281A-90F46F8E0A5B}"/>
              </a:ext>
            </a:extLst>
          </p:cNvPr>
          <p:cNvSpPr/>
          <p:nvPr/>
        </p:nvSpPr>
        <p:spPr>
          <a:xfrm>
            <a:off x="583562" y="4035285"/>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Obegränsad</a:t>
            </a:r>
          </a:p>
        </p:txBody>
      </p:sp>
      <p:cxnSp>
        <p:nvCxnSpPr>
          <p:cNvPr id="5" name="Straight Connector 4">
            <a:extLst>
              <a:ext uri="{FF2B5EF4-FFF2-40B4-BE49-F238E27FC236}">
                <a16:creationId xmlns:a16="http://schemas.microsoft.com/office/drawing/2014/main" id="{1645CD65-BF86-ACA2-F993-F921B42FDDEB}"/>
              </a:ext>
            </a:extLst>
          </p:cNvPr>
          <p:cNvCxnSpPr>
            <a:cxnSpLocks/>
          </p:cNvCxnSpPr>
          <p:nvPr/>
        </p:nvCxnSpPr>
        <p:spPr>
          <a:xfrm>
            <a:off x="8100701" y="1575349"/>
            <a:ext cx="6626"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F3C2ED-3B2F-2877-D1A1-033BE3D64067}"/>
              </a:ext>
            </a:extLst>
          </p:cNvPr>
          <p:cNvCxnSpPr>
            <a:cxnSpLocks/>
          </p:cNvCxnSpPr>
          <p:nvPr/>
        </p:nvCxnSpPr>
        <p:spPr>
          <a:xfrm>
            <a:off x="6202278" y="1575350"/>
            <a:ext cx="0"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D28CE14E-118B-7A28-8E9C-2424A1C98D08}"/>
              </a:ext>
            </a:extLst>
          </p:cNvPr>
          <p:cNvSpPr/>
          <p:nvPr/>
        </p:nvSpPr>
        <p:spPr>
          <a:xfrm>
            <a:off x="4399262" y="1933160"/>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50GB</a:t>
            </a:r>
          </a:p>
        </p:txBody>
      </p:sp>
      <p:sp>
        <p:nvSpPr>
          <p:cNvPr id="14" name="Rectangle: Rounded Corners 13">
            <a:extLst>
              <a:ext uri="{FF2B5EF4-FFF2-40B4-BE49-F238E27FC236}">
                <a16:creationId xmlns:a16="http://schemas.microsoft.com/office/drawing/2014/main" id="{C60DE085-122C-8E87-AC02-2CAA88B6E8F7}"/>
              </a:ext>
            </a:extLst>
          </p:cNvPr>
          <p:cNvSpPr/>
          <p:nvPr/>
        </p:nvSpPr>
        <p:spPr>
          <a:xfrm>
            <a:off x="6309243" y="1933160"/>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20GB</a:t>
            </a:r>
          </a:p>
        </p:txBody>
      </p:sp>
      <p:sp>
        <p:nvSpPr>
          <p:cNvPr id="16" name="Rectangle 15">
            <a:extLst>
              <a:ext uri="{FF2B5EF4-FFF2-40B4-BE49-F238E27FC236}">
                <a16:creationId xmlns:a16="http://schemas.microsoft.com/office/drawing/2014/main" id="{72BFB06F-7D9B-C821-8C0E-15FCA2433A87}"/>
              </a:ext>
            </a:extLst>
          </p:cNvPr>
          <p:cNvSpPr/>
          <p:nvPr/>
        </p:nvSpPr>
        <p:spPr>
          <a:xfrm>
            <a:off x="6300962" y="4035285"/>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20GB</a:t>
            </a:r>
          </a:p>
        </p:txBody>
      </p:sp>
      <p:sp>
        <p:nvSpPr>
          <p:cNvPr id="18" name="Rectangle 17">
            <a:extLst>
              <a:ext uri="{FF2B5EF4-FFF2-40B4-BE49-F238E27FC236}">
                <a16:creationId xmlns:a16="http://schemas.microsoft.com/office/drawing/2014/main" id="{FA1C3992-845A-9575-51F5-7DE82D716F83}"/>
              </a:ext>
            </a:extLst>
          </p:cNvPr>
          <p:cNvSpPr/>
          <p:nvPr/>
        </p:nvSpPr>
        <p:spPr>
          <a:xfrm>
            <a:off x="4389486" y="4548496"/>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0GB EU</a:t>
            </a:r>
          </a:p>
        </p:txBody>
      </p:sp>
      <p:sp>
        <p:nvSpPr>
          <p:cNvPr id="20" name="Rectangle 19">
            <a:extLst>
              <a:ext uri="{FF2B5EF4-FFF2-40B4-BE49-F238E27FC236}">
                <a16:creationId xmlns:a16="http://schemas.microsoft.com/office/drawing/2014/main" id="{EA22A587-7064-7734-A994-CD723CA713CB}"/>
              </a:ext>
            </a:extLst>
          </p:cNvPr>
          <p:cNvSpPr/>
          <p:nvPr/>
        </p:nvSpPr>
        <p:spPr>
          <a:xfrm>
            <a:off x="6299467" y="4548496"/>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20GB EU</a:t>
            </a:r>
          </a:p>
        </p:txBody>
      </p:sp>
      <p:sp>
        <p:nvSpPr>
          <p:cNvPr id="22" name="TextBox 21">
            <a:extLst>
              <a:ext uri="{FF2B5EF4-FFF2-40B4-BE49-F238E27FC236}">
                <a16:creationId xmlns:a16="http://schemas.microsoft.com/office/drawing/2014/main" id="{DB5BB60C-B4D1-4029-7F6E-B26716767E6A}"/>
              </a:ext>
            </a:extLst>
          </p:cNvPr>
          <p:cNvSpPr txBox="1"/>
          <p:nvPr/>
        </p:nvSpPr>
        <p:spPr>
          <a:xfrm>
            <a:off x="4399260" y="2673627"/>
            <a:ext cx="1728847" cy="738664"/>
          </a:xfrm>
          <a:prstGeom prst="rect">
            <a:avLst/>
          </a:prstGeom>
          <a:noFill/>
        </p:spPr>
        <p:txBody>
          <a:bodyPr wrap="square" rtlCol="0">
            <a:spAutoFit/>
          </a:bodyPr>
          <a:lstStyle/>
          <a:p>
            <a:pPr algn="ctr"/>
            <a:r>
              <a:rPr lang="sv-SE" sz="1600" b="1"/>
              <a:t>199 kr</a:t>
            </a:r>
          </a:p>
          <a:p>
            <a:pPr algn="ctr"/>
            <a:r>
              <a:rPr lang="sv-SE" sz="1000"/>
              <a:t>249 kr (utan bindning)</a:t>
            </a:r>
          </a:p>
          <a:p>
            <a:pPr algn="ctr"/>
            <a:endParaRPr lang="sv-SE" sz="1600" b="1"/>
          </a:p>
        </p:txBody>
      </p:sp>
      <p:sp>
        <p:nvSpPr>
          <p:cNvPr id="23" name="TextBox 22">
            <a:extLst>
              <a:ext uri="{FF2B5EF4-FFF2-40B4-BE49-F238E27FC236}">
                <a16:creationId xmlns:a16="http://schemas.microsoft.com/office/drawing/2014/main" id="{E05FC8F1-5B3A-B8C0-5799-F35D82AFE23A}"/>
              </a:ext>
            </a:extLst>
          </p:cNvPr>
          <p:cNvSpPr txBox="1"/>
          <p:nvPr/>
        </p:nvSpPr>
        <p:spPr>
          <a:xfrm>
            <a:off x="6300962" y="2688603"/>
            <a:ext cx="1728847" cy="500137"/>
          </a:xfrm>
          <a:prstGeom prst="rect">
            <a:avLst/>
          </a:prstGeom>
          <a:noFill/>
        </p:spPr>
        <p:txBody>
          <a:bodyPr wrap="square" rtlCol="0">
            <a:spAutoFit/>
          </a:bodyPr>
          <a:lstStyle/>
          <a:p>
            <a:pPr algn="ctr"/>
            <a:r>
              <a:rPr lang="sv-SE" sz="1600" b="1"/>
              <a:t>169 kr</a:t>
            </a:r>
          </a:p>
          <a:p>
            <a:pPr algn="ctr"/>
            <a:r>
              <a:rPr lang="sv-SE" sz="1000"/>
              <a:t>229 kr (utan bindning)</a:t>
            </a:r>
          </a:p>
        </p:txBody>
      </p:sp>
      <p:sp>
        <p:nvSpPr>
          <p:cNvPr id="25" name="Rectangle 24">
            <a:extLst>
              <a:ext uri="{FF2B5EF4-FFF2-40B4-BE49-F238E27FC236}">
                <a16:creationId xmlns:a16="http://schemas.microsoft.com/office/drawing/2014/main" id="{3D99D718-728E-0419-E259-DF69AECD2F96}"/>
              </a:ext>
            </a:extLst>
          </p:cNvPr>
          <p:cNvSpPr/>
          <p:nvPr/>
        </p:nvSpPr>
        <p:spPr>
          <a:xfrm>
            <a:off x="4399261" y="4035285"/>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0GB</a:t>
            </a:r>
          </a:p>
        </p:txBody>
      </p:sp>
      <p:cxnSp>
        <p:nvCxnSpPr>
          <p:cNvPr id="26" name="Straight Connector 25">
            <a:extLst>
              <a:ext uri="{FF2B5EF4-FFF2-40B4-BE49-F238E27FC236}">
                <a16:creationId xmlns:a16="http://schemas.microsoft.com/office/drawing/2014/main" id="{14F4EB27-45D8-DD90-D4DF-921D77174C60}"/>
              </a:ext>
            </a:extLst>
          </p:cNvPr>
          <p:cNvCxnSpPr>
            <a:cxnSpLocks/>
          </p:cNvCxnSpPr>
          <p:nvPr/>
        </p:nvCxnSpPr>
        <p:spPr>
          <a:xfrm>
            <a:off x="9994774" y="1580171"/>
            <a:ext cx="6626"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CB383349-6919-459C-51D8-E095ADED3594}"/>
              </a:ext>
            </a:extLst>
          </p:cNvPr>
          <p:cNvSpPr/>
          <p:nvPr/>
        </p:nvSpPr>
        <p:spPr>
          <a:xfrm>
            <a:off x="8203316" y="1937982"/>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5GB</a:t>
            </a:r>
          </a:p>
        </p:txBody>
      </p:sp>
      <p:sp>
        <p:nvSpPr>
          <p:cNvPr id="29" name="Rectangle 28">
            <a:extLst>
              <a:ext uri="{FF2B5EF4-FFF2-40B4-BE49-F238E27FC236}">
                <a16:creationId xmlns:a16="http://schemas.microsoft.com/office/drawing/2014/main" id="{CA49FE18-5701-0D49-5AEF-E57D85287E73}"/>
              </a:ext>
            </a:extLst>
          </p:cNvPr>
          <p:cNvSpPr/>
          <p:nvPr/>
        </p:nvSpPr>
        <p:spPr>
          <a:xfrm>
            <a:off x="8195035" y="4040107"/>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a:t>
            </a:r>
          </a:p>
        </p:txBody>
      </p:sp>
      <p:sp>
        <p:nvSpPr>
          <p:cNvPr id="32" name="Rectangle 31">
            <a:extLst>
              <a:ext uri="{FF2B5EF4-FFF2-40B4-BE49-F238E27FC236}">
                <a16:creationId xmlns:a16="http://schemas.microsoft.com/office/drawing/2014/main" id="{DC70784D-3C64-7685-513F-FB4EB36D2D38}"/>
              </a:ext>
            </a:extLst>
          </p:cNvPr>
          <p:cNvSpPr/>
          <p:nvPr/>
        </p:nvSpPr>
        <p:spPr>
          <a:xfrm>
            <a:off x="8193540" y="4553318"/>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EU</a:t>
            </a:r>
          </a:p>
        </p:txBody>
      </p:sp>
      <p:sp>
        <p:nvSpPr>
          <p:cNvPr id="34" name="TextBox 33">
            <a:extLst>
              <a:ext uri="{FF2B5EF4-FFF2-40B4-BE49-F238E27FC236}">
                <a16:creationId xmlns:a16="http://schemas.microsoft.com/office/drawing/2014/main" id="{31C1C1B8-727A-A02E-1D11-7E4B91CEE00D}"/>
              </a:ext>
            </a:extLst>
          </p:cNvPr>
          <p:cNvSpPr txBox="1"/>
          <p:nvPr/>
        </p:nvSpPr>
        <p:spPr>
          <a:xfrm>
            <a:off x="8195035" y="2693425"/>
            <a:ext cx="1728847" cy="500137"/>
          </a:xfrm>
          <a:prstGeom prst="rect">
            <a:avLst/>
          </a:prstGeom>
          <a:noFill/>
        </p:spPr>
        <p:txBody>
          <a:bodyPr wrap="square" rtlCol="0">
            <a:spAutoFit/>
          </a:bodyPr>
          <a:lstStyle/>
          <a:p>
            <a:pPr algn="ctr"/>
            <a:r>
              <a:rPr lang="sv-SE" sz="1600" b="1"/>
              <a:t>99 kr</a:t>
            </a:r>
          </a:p>
          <a:p>
            <a:pPr algn="ctr"/>
            <a:r>
              <a:rPr lang="sv-SE" sz="1000"/>
              <a:t>149 kr (utan bindning)</a:t>
            </a:r>
          </a:p>
        </p:txBody>
      </p:sp>
      <p:sp>
        <p:nvSpPr>
          <p:cNvPr id="4" name="Rectangle 3">
            <a:extLst>
              <a:ext uri="{FF2B5EF4-FFF2-40B4-BE49-F238E27FC236}">
                <a16:creationId xmlns:a16="http://schemas.microsoft.com/office/drawing/2014/main" id="{158DAA38-F1DE-3C79-5192-4CD8C1F483CC}"/>
              </a:ext>
            </a:extLst>
          </p:cNvPr>
          <p:cNvSpPr/>
          <p:nvPr/>
        </p:nvSpPr>
        <p:spPr>
          <a:xfrm>
            <a:off x="4414076" y="1391477"/>
            <a:ext cx="5509805" cy="367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BTL</a:t>
            </a:r>
          </a:p>
        </p:txBody>
      </p:sp>
      <p:sp>
        <p:nvSpPr>
          <p:cNvPr id="36" name="Rectangle 35">
            <a:extLst>
              <a:ext uri="{FF2B5EF4-FFF2-40B4-BE49-F238E27FC236}">
                <a16:creationId xmlns:a16="http://schemas.microsoft.com/office/drawing/2014/main" id="{80AD520B-C7E4-74BA-9C19-305B597AADF6}"/>
              </a:ext>
            </a:extLst>
          </p:cNvPr>
          <p:cNvSpPr/>
          <p:nvPr/>
        </p:nvSpPr>
        <p:spPr>
          <a:xfrm>
            <a:off x="10072293" y="1391477"/>
            <a:ext cx="1704154" cy="367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Datakort</a:t>
            </a:r>
          </a:p>
        </p:txBody>
      </p:sp>
      <p:sp>
        <p:nvSpPr>
          <p:cNvPr id="38" name="Rectangle: Rounded Corners 37">
            <a:extLst>
              <a:ext uri="{FF2B5EF4-FFF2-40B4-BE49-F238E27FC236}">
                <a16:creationId xmlns:a16="http://schemas.microsoft.com/office/drawing/2014/main" id="{CFB6EA06-D6C9-6176-D56A-92E239EC167E}"/>
              </a:ext>
            </a:extLst>
          </p:cNvPr>
          <p:cNvSpPr/>
          <p:nvPr/>
        </p:nvSpPr>
        <p:spPr>
          <a:xfrm>
            <a:off x="10097389" y="1933160"/>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Datakort</a:t>
            </a:r>
          </a:p>
        </p:txBody>
      </p:sp>
      <p:sp>
        <p:nvSpPr>
          <p:cNvPr id="39" name="Rectangle 38">
            <a:extLst>
              <a:ext uri="{FF2B5EF4-FFF2-40B4-BE49-F238E27FC236}">
                <a16:creationId xmlns:a16="http://schemas.microsoft.com/office/drawing/2014/main" id="{5B2EEF0C-24DA-DE1F-BDD5-C648180175F4}"/>
              </a:ext>
            </a:extLst>
          </p:cNvPr>
          <p:cNvSpPr/>
          <p:nvPr/>
        </p:nvSpPr>
        <p:spPr>
          <a:xfrm>
            <a:off x="10089108" y="4035285"/>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00GB</a:t>
            </a:r>
          </a:p>
        </p:txBody>
      </p:sp>
      <p:sp>
        <p:nvSpPr>
          <p:cNvPr id="40" name="Rectangle 39">
            <a:extLst>
              <a:ext uri="{FF2B5EF4-FFF2-40B4-BE49-F238E27FC236}">
                <a16:creationId xmlns:a16="http://schemas.microsoft.com/office/drawing/2014/main" id="{11EE325D-757E-6469-1BD0-803E3BF6CEF5}"/>
              </a:ext>
            </a:extLst>
          </p:cNvPr>
          <p:cNvSpPr/>
          <p:nvPr/>
        </p:nvSpPr>
        <p:spPr>
          <a:xfrm>
            <a:off x="10087613" y="4548496"/>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00GB</a:t>
            </a:r>
            <a:r>
              <a:rPr lang="sv-SE" sz="1200" dirty="0"/>
              <a:t> EU</a:t>
            </a:r>
          </a:p>
        </p:txBody>
      </p:sp>
      <p:sp>
        <p:nvSpPr>
          <p:cNvPr id="43" name="TextBox 42">
            <a:extLst>
              <a:ext uri="{FF2B5EF4-FFF2-40B4-BE49-F238E27FC236}">
                <a16:creationId xmlns:a16="http://schemas.microsoft.com/office/drawing/2014/main" id="{64C24424-64A0-6918-2B20-CD03E72A6631}"/>
              </a:ext>
            </a:extLst>
          </p:cNvPr>
          <p:cNvSpPr txBox="1"/>
          <p:nvPr/>
        </p:nvSpPr>
        <p:spPr>
          <a:xfrm>
            <a:off x="10089108" y="2688603"/>
            <a:ext cx="1728847" cy="1031051"/>
          </a:xfrm>
          <a:prstGeom prst="rect">
            <a:avLst/>
          </a:prstGeom>
          <a:noFill/>
        </p:spPr>
        <p:txBody>
          <a:bodyPr wrap="square" rtlCol="0">
            <a:spAutoFit/>
          </a:bodyPr>
          <a:lstStyle/>
          <a:p>
            <a:pPr algn="ctr"/>
            <a:r>
              <a:rPr lang="sv-SE" sz="1600" b="1"/>
              <a:t>69 kr</a:t>
            </a:r>
          </a:p>
          <a:p>
            <a:pPr marL="171450" indent="-171450">
              <a:buFont typeface="Arial" panose="020B0604020202020204" pitchFamily="34" charset="0"/>
              <a:buChar char="•"/>
            </a:pPr>
            <a:r>
              <a:rPr lang="sv-SE" sz="900"/>
              <a:t>Kan endast köpas till med 3Företag Obegränsad (max 1)</a:t>
            </a:r>
          </a:p>
          <a:p>
            <a:pPr marL="171450" indent="-171450">
              <a:buFont typeface="Arial" panose="020B0604020202020204" pitchFamily="34" charset="0"/>
              <a:buChar char="•"/>
            </a:pPr>
            <a:r>
              <a:rPr lang="sv-SE" sz="900"/>
              <a:t>Ingår med 3Företag Obegränsad Max (max 1)</a:t>
            </a:r>
          </a:p>
        </p:txBody>
      </p:sp>
      <p:sp>
        <p:nvSpPr>
          <p:cNvPr id="44" name="Rectangle 43">
            <a:extLst>
              <a:ext uri="{FF2B5EF4-FFF2-40B4-BE49-F238E27FC236}">
                <a16:creationId xmlns:a16="http://schemas.microsoft.com/office/drawing/2014/main" id="{121EF82F-F09C-7657-9E0F-30EAE620EA3D}"/>
              </a:ext>
            </a:extLst>
          </p:cNvPr>
          <p:cNvSpPr/>
          <p:nvPr/>
        </p:nvSpPr>
        <p:spPr>
          <a:xfrm>
            <a:off x="573787" y="5085213"/>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0 Mbit/s</a:t>
            </a:r>
          </a:p>
        </p:txBody>
      </p:sp>
      <p:sp>
        <p:nvSpPr>
          <p:cNvPr id="45" name="Rectangle 44">
            <a:extLst>
              <a:ext uri="{FF2B5EF4-FFF2-40B4-BE49-F238E27FC236}">
                <a16:creationId xmlns:a16="http://schemas.microsoft.com/office/drawing/2014/main" id="{C8F4438D-6919-222D-8453-10547B941D59}"/>
              </a:ext>
            </a:extLst>
          </p:cNvPr>
          <p:cNvSpPr/>
          <p:nvPr/>
        </p:nvSpPr>
        <p:spPr>
          <a:xfrm>
            <a:off x="2496442" y="5085213"/>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300 Mbit/s</a:t>
            </a:r>
          </a:p>
        </p:txBody>
      </p:sp>
      <p:sp>
        <p:nvSpPr>
          <p:cNvPr id="46" name="Rectangle 45">
            <a:extLst>
              <a:ext uri="{FF2B5EF4-FFF2-40B4-BE49-F238E27FC236}">
                <a16:creationId xmlns:a16="http://schemas.microsoft.com/office/drawing/2014/main" id="{2B30A66C-61F8-2527-8A17-5D716DCE2396}"/>
              </a:ext>
            </a:extLst>
          </p:cNvPr>
          <p:cNvSpPr/>
          <p:nvPr/>
        </p:nvSpPr>
        <p:spPr>
          <a:xfrm>
            <a:off x="4389486" y="5085213"/>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 Mbit/s</a:t>
            </a:r>
          </a:p>
        </p:txBody>
      </p:sp>
      <p:sp>
        <p:nvSpPr>
          <p:cNvPr id="50" name="Rectangle 49">
            <a:extLst>
              <a:ext uri="{FF2B5EF4-FFF2-40B4-BE49-F238E27FC236}">
                <a16:creationId xmlns:a16="http://schemas.microsoft.com/office/drawing/2014/main" id="{36AF916D-8C16-5F94-8C6F-D80495E8C29F}"/>
              </a:ext>
            </a:extLst>
          </p:cNvPr>
          <p:cNvSpPr/>
          <p:nvPr/>
        </p:nvSpPr>
        <p:spPr>
          <a:xfrm>
            <a:off x="6299467" y="5085213"/>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 Mbit/s</a:t>
            </a:r>
          </a:p>
        </p:txBody>
      </p:sp>
      <p:sp>
        <p:nvSpPr>
          <p:cNvPr id="51" name="Rectangle 50">
            <a:extLst>
              <a:ext uri="{FF2B5EF4-FFF2-40B4-BE49-F238E27FC236}">
                <a16:creationId xmlns:a16="http://schemas.microsoft.com/office/drawing/2014/main" id="{788BE9D8-A62B-D33C-75FD-51881405D4BB}"/>
              </a:ext>
            </a:extLst>
          </p:cNvPr>
          <p:cNvSpPr/>
          <p:nvPr/>
        </p:nvSpPr>
        <p:spPr>
          <a:xfrm>
            <a:off x="8193540" y="5090035"/>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 Mbit/s</a:t>
            </a:r>
          </a:p>
        </p:txBody>
      </p:sp>
      <p:sp>
        <p:nvSpPr>
          <p:cNvPr id="52" name="Rectangle 51">
            <a:extLst>
              <a:ext uri="{FF2B5EF4-FFF2-40B4-BE49-F238E27FC236}">
                <a16:creationId xmlns:a16="http://schemas.microsoft.com/office/drawing/2014/main" id="{34EF8BB7-F7F5-ABAB-FD31-CA06747B9330}"/>
              </a:ext>
            </a:extLst>
          </p:cNvPr>
          <p:cNvSpPr/>
          <p:nvPr/>
        </p:nvSpPr>
        <p:spPr>
          <a:xfrm>
            <a:off x="10087613" y="5085213"/>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 Mbit/s</a:t>
            </a:r>
          </a:p>
        </p:txBody>
      </p:sp>
      <p:sp>
        <p:nvSpPr>
          <p:cNvPr id="53" name="Rectangle 52">
            <a:extLst>
              <a:ext uri="{FF2B5EF4-FFF2-40B4-BE49-F238E27FC236}">
                <a16:creationId xmlns:a16="http://schemas.microsoft.com/office/drawing/2014/main" id="{C4684DE4-8434-8E2C-8B17-4A6DB8B9DF6F}"/>
              </a:ext>
            </a:extLst>
          </p:cNvPr>
          <p:cNvSpPr/>
          <p:nvPr/>
        </p:nvSpPr>
        <p:spPr>
          <a:xfrm>
            <a:off x="10087613" y="5602007"/>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3Världen Surf”</a:t>
            </a:r>
          </a:p>
        </p:txBody>
      </p:sp>
    </p:spTree>
    <p:extLst>
      <p:ext uri="{BB962C8B-B14F-4D97-AF65-F5344CB8AC3E}">
        <p14:creationId xmlns:p14="http://schemas.microsoft.com/office/powerpoint/2010/main" val="16467051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964AD4C-847B-7A99-4B2B-4DB90B91E895}"/>
              </a:ext>
            </a:extLst>
          </p:cNvPr>
          <p:cNvSpPr>
            <a:spLocks noGrp="1"/>
          </p:cNvSpPr>
          <p:nvPr>
            <p:ph type="title"/>
          </p:nvPr>
        </p:nvSpPr>
        <p:spPr/>
        <p:txBody>
          <a:bodyPr/>
          <a:lstStyle/>
          <a:p>
            <a:pPr algn="ctr"/>
            <a:r>
              <a:rPr lang="sv-SE" dirty="0"/>
              <a:t>ÅF Mandat Bredband - Mikro</a:t>
            </a:r>
          </a:p>
        </p:txBody>
      </p:sp>
      <p:sp>
        <p:nvSpPr>
          <p:cNvPr id="4" name="Platshållare för innehåll 1">
            <a:extLst>
              <a:ext uri="{FF2B5EF4-FFF2-40B4-BE49-F238E27FC236}">
                <a16:creationId xmlns:a16="http://schemas.microsoft.com/office/drawing/2014/main" id="{98684677-F719-8386-2274-B664146935B8}"/>
              </a:ext>
            </a:extLst>
          </p:cNvPr>
          <p:cNvSpPr>
            <a:spLocks noGrp="1"/>
          </p:cNvSpPr>
          <p:nvPr>
            <p:ph idx="1"/>
          </p:nvPr>
        </p:nvSpPr>
        <p:spPr>
          <a:xfrm>
            <a:off x="6470649" y="2207687"/>
            <a:ext cx="4606925" cy="3971925"/>
          </a:xfrm>
        </p:spPr>
        <p:txBody>
          <a:bodyPr/>
          <a:lstStyle/>
          <a:p>
            <a:r>
              <a:rPr lang="sv-SE" b="1" dirty="0"/>
              <a:t>3Bredband Företag Max (399kr obundet)</a:t>
            </a:r>
          </a:p>
          <a:p>
            <a:pPr lvl="1"/>
            <a:r>
              <a:rPr lang="sv-SE" dirty="0"/>
              <a:t>349kr – 24 &amp; 36mån</a:t>
            </a:r>
          </a:p>
          <a:p>
            <a:pPr lvl="1"/>
            <a:r>
              <a:rPr lang="sv-SE" dirty="0"/>
              <a:t>299kr – 24 &amp; 36mån</a:t>
            </a:r>
          </a:p>
          <a:p>
            <a:pPr lvl="1"/>
            <a:r>
              <a:rPr lang="sv-SE" dirty="0"/>
              <a:t>279kr – 36mån</a:t>
            </a:r>
          </a:p>
          <a:p>
            <a:pPr lvl="1"/>
            <a:endParaRPr lang="sv-SE" dirty="0"/>
          </a:p>
          <a:p>
            <a:r>
              <a:rPr lang="sv-SE" b="1" dirty="0"/>
              <a:t>3Bredband 200GB (299kr obundet)</a:t>
            </a:r>
          </a:p>
          <a:p>
            <a:pPr lvl="1"/>
            <a:r>
              <a:rPr lang="sv-SE" dirty="0"/>
              <a:t>249kr – 24 &amp; 36 mån</a:t>
            </a:r>
          </a:p>
          <a:p>
            <a:pPr lvl="1"/>
            <a:r>
              <a:rPr lang="sv-SE" dirty="0"/>
              <a:t>209kr – 24 &amp; 36mån</a:t>
            </a:r>
          </a:p>
          <a:p>
            <a:pPr lvl="1"/>
            <a:r>
              <a:rPr lang="sv-SE" dirty="0"/>
              <a:t>199kr – 36mån </a:t>
            </a:r>
          </a:p>
          <a:p>
            <a:pPr marL="354013" lvl="1" indent="0">
              <a:buNone/>
            </a:pPr>
            <a:endParaRPr lang="sv-SE" dirty="0"/>
          </a:p>
        </p:txBody>
      </p:sp>
      <p:sp>
        <p:nvSpPr>
          <p:cNvPr id="7" name="Platshållare för innehåll 1">
            <a:extLst>
              <a:ext uri="{FF2B5EF4-FFF2-40B4-BE49-F238E27FC236}">
                <a16:creationId xmlns:a16="http://schemas.microsoft.com/office/drawing/2014/main" id="{0749B0F5-130F-E799-1D5E-947EB51F27E1}"/>
              </a:ext>
            </a:extLst>
          </p:cNvPr>
          <p:cNvSpPr txBox="1">
            <a:spLocks/>
          </p:cNvSpPr>
          <p:nvPr/>
        </p:nvSpPr>
        <p:spPr>
          <a:xfrm>
            <a:off x="803276" y="2207688"/>
            <a:ext cx="4606925" cy="3971925"/>
          </a:xfrm>
          <a:prstGeom prst="rect">
            <a:avLst/>
          </a:prstGeom>
        </p:spPr>
        <p:txBody>
          <a:bodyPr vert="horz" lIns="0" tIns="0" rIns="0" bIns="0" rtlCol="0">
            <a:noAutofit/>
          </a:bodyPr>
          <a:lstStyle>
            <a:lvl1pPr marL="266700" indent="-266700" algn="l" defTabSz="914400" rtl="0" eaLnBrk="1" latinLnBrk="0" hangingPunct="1">
              <a:lnSpc>
                <a:spcPct val="90000"/>
              </a:lnSpc>
              <a:spcBef>
                <a:spcPts val="600"/>
              </a:spcBef>
              <a:spcAft>
                <a:spcPts val="600"/>
              </a:spcAft>
              <a:buClr>
                <a:schemeClr val="accent1"/>
              </a:buClr>
              <a:buSzPct val="105000"/>
              <a:buFont typeface="HelveticaNeueLT Std" panose="020B0604020202020204" pitchFamily="34" charset="0"/>
              <a:buChar char="•"/>
              <a:defRPr sz="1600" kern="1200">
                <a:solidFill>
                  <a:schemeClr val="tx1"/>
                </a:solidFill>
                <a:latin typeface="+mn-lt"/>
                <a:ea typeface="+mn-ea"/>
                <a:cs typeface="+mn-cs"/>
              </a:defRPr>
            </a:lvl1pPr>
            <a:lvl2pPr marL="538163"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400" kern="1200">
                <a:solidFill>
                  <a:schemeClr val="tx1"/>
                </a:solidFill>
                <a:latin typeface="+mn-lt"/>
                <a:ea typeface="+mn-ea"/>
                <a:cs typeface="+mn-cs"/>
              </a:defRPr>
            </a:lvl2pPr>
            <a:lvl3pPr marL="715963"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200" kern="1200">
                <a:solidFill>
                  <a:schemeClr val="tx1"/>
                </a:solidFill>
                <a:latin typeface="+mn-lt"/>
                <a:ea typeface="+mn-ea"/>
                <a:cs typeface="+mn-cs"/>
              </a:defRPr>
            </a:lvl3pPr>
            <a:lvl4pPr marL="898525" indent="-18256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4pPr>
            <a:lvl5pPr marL="107632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5pPr>
            <a:lvl6pPr marL="1254125" indent="-184150"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6pPr>
            <a:lvl7pPr marL="14382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7pPr>
            <a:lvl8pPr marL="1616075" indent="-176213"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8pPr>
            <a:lvl9pPr marL="1793875" indent="-180975" algn="l" defTabSz="914400" rtl="0" eaLnBrk="1" latinLnBrk="0" hangingPunct="1">
              <a:lnSpc>
                <a:spcPct val="90000"/>
              </a:lnSpc>
              <a:spcBef>
                <a:spcPts val="0"/>
              </a:spcBef>
              <a:spcAft>
                <a:spcPts val="600"/>
              </a:spcAft>
              <a:buClrTx/>
              <a:buSzPct val="100000"/>
              <a:buFont typeface="HelveticaNeueLT Std" panose="020B0604020202020204" pitchFamily="34" charset="0"/>
              <a:buChar char="‐"/>
              <a:defRPr sz="1100" kern="1200">
                <a:solidFill>
                  <a:schemeClr val="tx1"/>
                </a:solidFill>
                <a:latin typeface="+mn-lt"/>
                <a:ea typeface="+mn-ea"/>
                <a:cs typeface="+mn-cs"/>
              </a:defRPr>
            </a:lvl9pPr>
          </a:lstStyle>
          <a:p>
            <a:r>
              <a:rPr lang="sv-SE" b="1" dirty="0"/>
              <a:t>3Bredband 50GB (249kr Obundet)</a:t>
            </a:r>
          </a:p>
          <a:p>
            <a:pPr lvl="1"/>
            <a:r>
              <a:rPr lang="sv-SE" dirty="0"/>
              <a:t>199kr – 24 &amp; 36mån</a:t>
            </a:r>
          </a:p>
          <a:p>
            <a:pPr lvl="1"/>
            <a:r>
              <a:rPr lang="sv-SE" dirty="0"/>
              <a:t>179kr – 24 &amp; 36mån</a:t>
            </a:r>
          </a:p>
          <a:p>
            <a:r>
              <a:rPr lang="sv-SE" b="1" dirty="0"/>
              <a:t>3Bredband 20GB (229kr Obundet)</a:t>
            </a:r>
          </a:p>
          <a:p>
            <a:pPr lvl="1"/>
            <a:r>
              <a:rPr lang="sv-SE" dirty="0"/>
              <a:t>169kr – 24 &amp; 36mån</a:t>
            </a:r>
          </a:p>
          <a:p>
            <a:pPr lvl="1"/>
            <a:r>
              <a:rPr lang="sv-SE" dirty="0"/>
              <a:t>149kr – 24 &amp; 36mån</a:t>
            </a:r>
          </a:p>
          <a:p>
            <a:pPr marL="368300" indent="-285750"/>
            <a:r>
              <a:rPr lang="sv-SE" b="1" dirty="0"/>
              <a:t>3Bredband 5GB (149kr Obundet)</a:t>
            </a:r>
          </a:p>
          <a:p>
            <a:pPr marL="639763" lvl="1" indent="-285750"/>
            <a:r>
              <a:rPr lang="sv-SE" dirty="0"/>
              <a:t>99kr – 24 &amp; 36mån</a:t>
            </a:r>
          </a:p>
          <a:p>
            <a:pPr marL="639763" lvl="1" indent="-285750"/>
            <a:r>
              <a:rPr lang="sv-SE" dirty="0"/>
              <a:t>89kr – 24 &amp; 36mån</a:t>
            </a:r>
          </a:p>
          <a:p>
            <a:pPr marL="354013" lvl="1" indent="0">
              <a:buNone/>
            </a:pPr>
            <a:endParaRPr lang="sv-SE" dirty="0"/>
          </a:p>
          <a:p>
            <a:pPr marL="354013" lvl="1" indent="0">
              <a:buFont typeface="HelveticaNeueLT Std" panose="020B0604020202020204" pitchFamily="34" charset="0"/>
              <a:buNone/>
            </a:pPr>
            <a:endParaRPr lang="sv-SE" dirty="0"/>
          </a:p>
        </p:txBody>
      </p:sp>
    </p:spTree>
    <p:extLst>
      <p:ext uri="{BB962C8B-B14F-4D97-AF65-F5344CB8AC3E}">
        <p14:creationId xmlns:p14="http://schemas.microsoft.com/office/powerpoint/2010/main" val="357083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uiExpand="1"/>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671E3FDA-C2EF-F210-314B-1935B18BABE4}"/>
              </a:ext>
            </a:extLst>
          </p:cNvPr>
          <p:cNvSpPr>
            <a:spLocks noGrp="1"/>
          </p:cNvSpPr>
          <p:nvPr>
            <p:ph type="title"/>
          </p:nvPr>
        </p:nvSpPr>
        <p:spPr>
          <a:xfrm>
            <a:off x="803276" y="1088502"/>
            <a:ext cx="10585450" cy="900112"/>
          </a:xfrm>
        </p:spPr>
        <p:txBody>
          <a:bodyPr anchor="t">
            <a:normAutofit/>
          </a:bodyPr>
          <a:lstStyle/>
          <a:p>
            <a:r>
              <a:rPr lang="sv-SE" dirty="0"/>
              <a:t>Affärsregler</a:t>
            </a:r>
          </a:p>
        </p:txBody>
      </p:sp>
      <p:sp>
        <p:nvSpPr>
          <p:cNvPr id="4" name="Platshållare för text 3">
            <a:extLst>
              <a:ext uri="{FF2B5EF4-FFF2-40B4-BE49-F238E27FC236}">
                <a16:creationId xmlns:a16="http://schemas.microsoft.com/office/drawing/2014/main" id="{85975F71-A900-D14C-057E-9FB72A755C71}"/>
              </a:ext>
            </a:extLst>
          </p:cNvPr>
          <p:cNvSpPr>
            <a:spLocks noGrp="1"/>
          </p:cNvSpPr>
          <p:nvPr>
            <p:ph sz="half" idx="1"/>
          </p:nvPr>
        </p:nvSpPr>
        <p:spPr>
          <a:xfrm>
            <a:off x="1055688" y="2205038"/>
            <a:ext cx="4824409" cy="3971923"/>
          </a:xfrm>
        </p:spPr>
        <p:txBody>
          <a:bodyPr>
            <a:normAutofit/>
          </a:bodyPr>
          <a:lstStyle/>
          <a:p>
            <a:r>
              <a:rPr lang="sv-SE" dirty="0"/>
              <a:t>Nyteckningar och förlängningar </a:t>
            </a:r>
          </a:p>
          <a:p>
            <a:r>
              <a:rPr lang="sv-SE" dirty="0"/>
              <a:t>Bindningstider</a:t>
            </a:r>
          </a:p>
          <a:p>
            <a:pPr lvl="1"/>
            <a:r>
              <a:rPr lang="sv-SE" sz="1600"/>
              <a:t>0, 24, 36 på samtliga prisplaner</a:t>
            </a:r>
          </a:p>
          <a:p>
            <a:r>
              <a:rPr lang="sv-SE" dirty="0"/>
              <a:t>Tillgängligt med SIM </a:t>
            </a:r>
            <a:r>
              <a:rPr lang="sv-SE" dirty="0" err="1"/>
              <a:t>Only</a:t>
            </a:r>
            <a:endParaRPr lang="sv-SE" dirty="0"/>
          </a:p>
          <a:p>
            <a:r>
              <a:rPr lang="sv-SE" dirty="0"/>
              <a:t>ISL – förhöjda avgifter finns tillgängliga på samma nivåer som idag med 24 månaders bindning</a:t>
            </a:r>
          </a:p>
          <a:p>
            <a:r>
              <a:rPr lang="sv-SE" dirty="0"/>
              <a:t>Rabatter</a:t>
            </a:r>
          </a:p>
          <a:p>
            <a:pPr lvl="1"/>
            <a:r>
              <a:rPr lang="sv-SE" sz="1600"/>
              <a:t>Bindningstidsrabatt – 50kr på samtliga abonnemang</a:t>
            </a:r>
          </a:p>
          <a:p>
            <a:pPr lvl="1"/>
            <a:r>
              <a:rPr lang="sv-SE" sz="1600"/>
              <a:t>Ny rabattstruktur implementeras i samband med lansering</a:t>
            </a:r>
          </a:p>
          <a:p>
            <a:pPr lvl="1"/>
            <a:r>
              <a:rPr lang="sv-SE" sz="1600"/>
              <a:t>Alla rabatter planeras att ersättas med rabatter som följer bindningstiden</a:t>
            </a:r>
          </a:p>
          <a:p>
            <a:endParaRPr lang="sv-SE" dirty="0"/>
          </a:p>
        </p:txBody>
      </p:sp>
      <p:pic>
        <p:nvPicPr>
          <p:cNvPr id="1028" name="Picture 4" descr="Router med mobilt bredband för företag | Tre">
            <a:extLst>
              <a:ext uri="{FF2B5EF4-FFF2-40B4-BE49-F238E27FC236}">
                <a16:creationId xmlns:a16="http://schemas.microsoft.com/office/drawing/2014/main" id="{BD73E257-0044-BFF9-ADC3-B6A34919BE33}"/>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l="15665" r="16012"/>
          <a:stretch/>
        </p:blipFill>
        <p:spPr bwMode="auto">
          <a:xfrm>
            <a:off x="6311902" y="2205038"/>
            <a:ext cx="4824410" cy="3971924"/>
          </a:xfrm>
          <a:prstGeom prst="rect">
            <a:avLst/>
          </a:prstGeom>
          <a:solidFill>
            <a:srgbClr val="FFFFFF"/>
          </a:solidFill>
        </p:spPr>
      </p:pic>
    </p:spTree>
    <p:extLst>
      <p:ext uri="{BB962C8B-B14F-4D97-AF65-F5344CB8AC3E}">
        <p14:creationId xmlns:p14="http://schemas.microsoft.com/office/powerpoint/2010/main" val="24579554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332143C-9B91-7E47-1767-96DF5B303F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think-cell data - do not delete" hidden="1">
                        <a:extLst>
                          <a:ext uri="{FF2B5EF4-FFF2-40B4-BE49-F238E27FC236}">
                            <a16:creationId xmlns:a16="http://schemas.microsoft.com/office/drawing/2014/main" id="{0332143C-9B91-7E47-1767-96DF5B303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2" name="Straight Connector 41">
            <a:extLst>
              <a:ext uri="{FF2B5EF4-FFF2-40B4-BE49-F238E27FC236}">
                <a16:creationId xmlns:a16="http://schemas.microsoft.com/office/drawing/2014/main" id="{A4D60FD2-A909-4954-F3DA-C75157C02BE1}"/>
              </a:ext>
            </a:extLst>
          </p:cNvPr>
          <p:cNvCxnSpPr>
            <a:cxnSpLocks/>
          </p:cNvCxnSpPr>
          <p:nvPr/>
        </p:nvCxnSpPr>
        <p:spPr>
          <a:xfrm>
            <a:off x="5321766" y="1458696"/>
            <a:ext cx="6626"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3233093-9E6D-4698-65B6-3F3EC529DA8F}"/>
              </a:ext>
            </a:extLst>
          </p:cNvPr>
          <p:cNvCxnSpPr>
            <a:cxnSpLocks/>
          </p:cNvCxnSpPr>
          <p:nvPr/>
        </p:nvCxnSpPr>
        <p:spPr>
          <a:xfrm>
            <a:off x="3411577" y="1420293"/>
            <a:ext cx="0"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BCDBAC0A-6471-72EE-4C37-5A30DBC2499D}"/>
              </a:ext>
            </a:extLst>
          </p:cNvPr>
          <p:cNvSpPr/>
          <p:nvPr/>
        </p:nvSpPr>
        <p:spPr>
          <a:xfrm>
            <a:off x="11106787" y="5602007"/>
            <a:ext cx="725557" cy="1003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ectangle: Rounded Corners 14">
            <a:extLst>
              <a:ext uri="{FF2B5EF4-FFF2-40B4-BE49-F238E27FC236}">
                <a16:creationId xmlns:a16="http://schemas.microsoft.com/office/drawing/2014/main" id="{65463825-9A4D-0344-3BA5-516E5BE660B5}"/>
              </a:ext>
            </a:extLst>
          </p:cNvPr>
          <p:cNvSpPr/>
          <p:nvPr/>
        </p:nvSpPr>
        <p:spPr>
          <a:xfrm>
            <a:off x="1595619" y="1816505"/>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RAM</a:t>
            </a:r>
          </a:p>
        </p:txBody>
      </p:sp>
      <p:sp>
        <p:nvSpPr>
          <p:cNvPr id="17" name="Rectangle: Rounded Corners 16">
            <a:extLst>
              <a:ext uri="{FF2B5EF4-FFF2-40B4-BE49-F238E27FC236}">
                <a16:creationId xmlns:a16="http://schemas.microsoft.com/office/drawing/2014/main" id="{3ED62E23-A500-21BB-D1B2-9DF82809AE3D}"/>
              </a:ext>
            </a:extLst>
          </p:cNvPr>
          <p:cNvSpPr/>
          <p:nvPr/>
        </p:nvSpPr>
        <p:spPr>
          <a:xfrm>
            <a:off x="3518274" y="1816505"/>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Bredband 15GB</a:t>
            </a:r>
          </a:p>
        </p:txBody>
      </p:sp>
      <p:sp>
        <p:nvSpPr>
          <p:cNvPr id="24" name="Rectangle 23">
            <a:extLst>
              <a:ext uri="{FF2B5EF4-FFF2-40B4-BE49-F238E27FC236}">
                <a16:creationId xmlns:a16="http://schemas.microsoft.com/office/drawing/2014/main" id="{65F250CC-C2ED-0A14-C08A-9B19BB08DCB0}"/>
              </a:ext>
            </a:extLst>
          </p:cNvPr>
          <p:cNvSpPr/>
          <p:nvPr/>
        </p:nvSpPr>
        <p:spPr>
          <a:xfrm>
            <a:off x="3509993" y="3918630"/>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200GB</a:t>
            </a:r>
          </a:p>
        </p:txBody>
      </p:sp>
      <p:sp>
        <p:nvSpPr>
          <p:cNvPr id="28" name="Rectangle 27">
            <a:extLst>
              <a:ext uri="{FF2B5EF4-FFF2-40B4-BE49-F238E27FC236}">
                <a16:creationId xmlns:a16="http://schemas.microsoft.com/office/drawing/2014/main" id="{63340051-06A4-DED6-68A5-02012D901952}"/>
              </a:ext>
            </a:extLst>
          </p:cNvPr>
          <p:cNvSpPr/>
          <p:nvPr/>
        </p:nvSpPr>
        <p:spPr>
          <a:xfrm>
            <a:off x="1585843" y="4431841"/>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0GB EU</a:t>
            </a:r>
          </a:p>
        </p:txBody>
      </p:sp>
      <p:sp>
        <p:nvSpPr>
          <p:cNvPr id="30" name="Rectangle 29">
            <a:extLst>
              <a:ext uri="{FF2B5EF4-FFF2-40B4-BE49-F238E27FC236}">
                <a16:creationId xmlns:a16="http://schemas.microsoft.com/office/drawing/2014/main" id="{B56F448C-A8FA-27D4-8441-FF84E821CBF9}"/>
              </a:ext>
            </a:extLst>
          </p:cNvPr>
          <p:cNvSpPr/>
          <p:nvPr/>
        </p:nvSpPr>
        <p:spPr>
          <a:xfrm>
            <a:off x="3508498" y="4431841"/>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5GB EU</a:t>
            </a:r>
          </a:p>
        </p:txBody>
      </p:sp>
      <p:sp>
        <p:nvSpPr>
          <p:cNvPr id="47" name="TextBox 46">
            <a:extLst>
              <a:ext uri="{FF2B5EF4-FFF2-40B4-BE49-F238E27FC236}">
                <a16:creationId xmlns:a16="http://schemas.microsoft.com/office/drawing/2014/main" id="{7A995EEA-FAC3-3409-957D-A5A8388FA9D5}"/>
              </a:ext>
            </a:extLst>
          </p:cNvPr>
          <p:cNvSpPr txBox="1"/>
          <p:nvPr/>
        </p:nvSpPr>
        <p:spPr>
          <a:xfrm>
            <a:off x="1595617" y="2556972"/>
            <a:ext cx="1728847" cy="338554"/>
          </a:xfrm>
          <a:prstGeom prst="rect">
            <a:avLst/>
          </a:prstGeom>
          <a:noFill/>
        </p:spPr>
        <p:txBody>
          <a:bodyPr wrap="square" rtlCol="0">
            <a:spAutoFit/>
          </a:bodyPr>
          <a:lstStyle/>
          <a:p>
            <a:pPr algn="ctr"/>
            <a:r>
              <a:rPr lang="sv-SE" sz="1600" b="1"/>
              <a:t>249 kr</a:t>
            </a:r>
          </a:p>
        </p:txBody>
      </p:sp>
      <p:sp>
        <p:nvSpPr>
          <p:cNvPr id="48" name="TextBox 47">
            <a:extLst>
              <a:ext uri="{FF2B5EF4-FFF2-40B4-BE49-F238E27FC236}">
                <a16:creationId xmlns:a16="http://schemas.microsoft.com/office/drawing/2014/main" id="{5E1958C7-CB11-34CA-789C-0CEE584B837E}"/>
              </a:ext>
            </a:extLst>
          </p:cNvPr>
          <p:cNvSpPr txBox="1"/>
          <p:nvPr/>
        </p:nvSpPr>
        <p:spPr>
          <a:xfrm>
            <a:off x="3509993" y="2571948"/>
            <a:ext cx="1728847" cy="338554"/>
          </a:xfrm>
          <a:prstGeom prst="rect">
            <a:avLst/>
          </a:prstGeom>
          <a:noFill/>
        </p:spPr>
        <p:txBody>
          <a:bodyPr wrap="square" rtlCol="0">
            <a:spAutoFit/>
          </a:bodyPr>
          <a:lstStyle/>
          <a:p>
            <a:pPr algn="ctr"/>
            <a:r>
              <a:rPr lang="sv-SE" sz="1600" b="1"/>
              <a:t>149 kr</a:t>
            </a:r>
          </a:p>
        </p:txBody>
      </p:sp>
      <p:sp>
        <p:nvSpPr>
          <p:cNvPr id="2" name="Title 4">
            <a:extLst>
              <a:ext uri="{FF2B5EF4-FFF2-40B4-BE49-F238E27FC236}">
                <a16:creationId xmlns:a16="http://schemas.microsoft.com/office/drawing/2014/main" id="{61A83D32-A9A4-6788-060C-5FEFB173B43C}"/>
              </a:ext>
            </a:extLst>
          </p:cNvPr>
          <p:cNvSpPr>
            <a:spLocks noGrp="1"/>
          </p:cNvSpPr>
          <p:nvPr>
            <p:ph type="title"/>
          </p:nvPr>
        </p:nvSpPr>
        <p:spPr>
          <a:xfrm>
            <a:off x="924337" y="519090"/>
            <a:ext cx="10585450" cy="900112"/>
          </a:xfrm>
        </p:spPr>
        <p:txBody>
          <a:bodyPr vert="horz"/>
          <a:lstStyle/>
          <a:p>
            <a:r>
              <a:rPr lang="sv-SE" sz="4000"/>
              <a:t>Översikt bredbandsportföljen – RAM</a:t>
            </a:r>
          </a:p>
        </p:txBody>
      </p:sp>
      <p:sp>
        <p:nvSpPr>
          <p:cNvPr id="8" name="Rectangle 7">
            <a:extLst>
              <a:ext uri="{FF2B5EF4-FFF2-40B4-BE49-F238E27FC236}">
                <a16:creationId xmlns:a16="http://schemas.microsoft.com/office/drawing/2014/main" id="{F5EEC0F0-2744-0F0F-281A-90F46F8E0A5B}"/>
              </a:ext>
            </a:extLst>
          </p:cNvPr>
          <p:cNvSpPr/>
          <p:nvPr/>
        </p:nvSpPr>
        <p:spPr>
          <a:xfrm>
            <a:off x="1595618" y="3918630"/>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Obegränsad</a:t>
            </a:r>
          </a:p>
        </p:txBody>
      </p:sp>
      <p:cxnSp>
        <p:nvCxnSpPr>
          <p:cNvPr id="6" name="Straight Connector 5">
            <a:extLst>
              <a:ext uri="{FF2B5EF4-FFF2-40B4-BE49-F238E27FC236}">
                <a16:creationId xmlns:a16="http://schemas.microsoft.com/office/drawing/2014/main" id="{C7F3C2ED-3B2F-2877-D1A1-033BE3D64067}"/>
              </a:ext>
            </a:extLst>
          </p:cNvPr>
          <p:cNvCxnSpPr>
            <a:cxnSpLocks/>
          </p:cNvCxnSpPr>
          <p:nvPr/>
        </p:nvCxnSpPr>
        <p:spPr>
          <a:xfrm>
            <a:off x="7214334" y="1458695"/>
            <a:ext cx="0" cy="49966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D28CE14E-118B-7A28-8E9C-2424A1C98D08}"/>
              </a:ext>
            </a:extLst>
          </p:cNvPr>
          <p:cNvSpPr/>
          <p:nvPr/>
        </p:nvSpPr>
        <p:spPr>
          <a:xfrm>
            <a:off x="5411318" y="1816505"/>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Surfkort 5GB</a:t>
            </a:r>
          </a:p>
        </p:txBody>
      </p:sp>
      <p:sp>
        <p:nvSpPr>
          <p:cNvPr id="18" name="Rectangle 17">
            <a:extLst>
              <a:ext uri="{FF2B5EF4-FFF2-40B4-BE49-F238E27FC236}">
                <a16:creationId xmlns:a16="http://schemas.microsoft.com/office/drawing/2014/main" id="{FA1C3992-845A-9575-51F5-7DE82D716F83}"/>
              </a:ext>
            </a:extLst>
          </p:cNvPr>
          <p:cNvSpPr/>
          <p:nvPr/>
        </p:nvSpPr>
        <p:spPr>
          <a:xfrm>
            <a:off x="5401542" y="4431841"/>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EU</a:t>
            </a:r>
          </a:p>
        </p:txBody>
      </p:sp>
      <p:sp>
        <p:nvSpPr>
          <p:cNvPr id="22" name="TextBox 21">
            <a:extLst>
              <a:ext uri="{FF2B5EF4-FFF2-40B4-BE49-F238E27FC236}">
                <a16:creationId xmlns:a16="http://schemas.microsoft.com/office/drawing/2014/main" id="{DB5BB60C-B4D1-4029-7F6E-B26716767E6A}"/>
              </a:ext>
            </a:extLst>
          </p:cNvPr>
          <p:cNvSpPr txBox="1"/>
          <p:nvPr/>
        </p:nvSpPr>
        <p:spPr>
          <a:xfrm>
            <a:off x="5411316" y="2556972"/>
            <a:ext cx="1728847" cy="584775"/>
          </a:xfrm>
          <a:prstGeom prst="rect">
            <a:avLst/>
          </a:prstGeom>
          <a:noFill/>
        </p:spPr>
        <p:txBody>
          <a:bodyPr wrap="square" rtlCol="0">
            <a:spAutoFit/>
          </a:bodyPr>
          <a:lstStyle/>
          <a:p>
            <a:pPr algn="ctr"/>
            <a:r>
              <a:rPr lang="sv-SE" sz="1600" b="1"/>
              <a:t>99 kr</a:t>
            </a:r>
          </a:p>
          <a:p>
            <a:pPr algn="ctr"/>
            <a:endParaRPr lang="sv-SE" sz="1600" b="1"/>
          </a:p>
        </p:txBody>
      </p:sp>
      <p:sp>
        <p:nvSpPr>
          <p:cNvPr id="25" name="Rectangle 24">
            <a:extLst>
              <a:ext uri="{FF2B5EF4-FFF2-40B4-BE49-F238E27FC236}">
                <a16:creationId xmlns:a16="http://schemas.microsoft.com/office/drawing/2014/main" id="{3D99D718-728E-0419-E259-DF69AECD2F96}"/>
              </a:ext>
            </a:extLst>
          </p:cNvPr>
          <p:cNvSpPr/>
          <p:nvPr/>
        </p:nvSpPr>
        <p:spPr>
          <a:xfrm>
            <a:off x="5411317" y="3918630"/>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a:t>
            </a:r>
          </a:p>
        </p:txBody>
      </p:sp>
      <p:sp>
        <p:nvSpPr>
          <p:cNvPr id="4" name="Rectangle 3">
            <a:extLst>
              <a:ext uri="{FF2B5EF4-FFF2-40B4-BE49-F238E27FC236}">
                <a16:creationId xmlns:a16="http://schemas.microsoft.com/office/drawing/2014/main" id="{158DAA38-F1DE-3C79-5192-4CD8C1F483CC}"/>
              </a:ext>
            </a:extLst>
          </p:cNvPr>
          <p:cNvSpPr/>
          <p:nvPr/>
        </p:nvSpPr>
        <p:spPr>
          <a:xfrm>
            <a:off x="1585844" y="1274822"/>
            <a:ext cx="5554319" cy="367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BTL</a:t>
            </a:r>
          </a:p>
        </p:txBody>
      </p:sp>
      <p:sp>
        <p:nvSpPr>
          <p:cNvPr id="36" name="Rectangle 35">
            <a:extLst>
              <a:ext uri="{FF2B5EF4-FFF2-40B4-BE49-F238E27FC236}">
                <a16:creationId xmlns:a16="http://schemas.microsoft.com/office/drawing/2014/main" id="{80AD520B-C7E4-74BA-9C19-305B597AADF6}"/>
              </a:ext>
            </a:extLst>
          </p:cNvPr>
          <p:cNvSpPr/>
          <p:nvPr/>
        </p:nvSpPr>
        <p:spPr>
          <a:xfrm>
            <a:off x="7293572" y="1274822"/>
            <a:ext cx="3483737" cy="367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Datakort</a:t>
            </a:r>
          </a:p>
        </p:txBody>
      </p:sp>
      <p:sp>
        <p:nvSpPr>
          <p:cNvPr id="38" name="Rectangle: Rounded Corners 37">
            <a:extLst>
              <a:ext uri="{FF2B5EF4-FFF2-40B4-BE49-F238E27FC236}">
                <a16:creationId xmlns:a16="http://schemas.microsoft.com/office/drawing/2014/main" id="{CFB6EA06-D6C9-6176-D56A-92E239EC167E}"/>
              </a:ext>
            </a:extLst>
          </p:cNvPr>
          <p:cNvSpPr/>
          <p:nvPr/>
        </p:nvSpPr>
        <p:spPr>
          <a:xfrm>
            <a:off x="7318669" y="1816505"/>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ysClr val="windowText" lastClr="000000"/>
                </a:solidFill>
              </a:rPr>
              <a:t>3Företag Datakort RAM</a:t>
            </a:r>
          </a:p>
        </p:txBody>
      </p:sp>
      <p:sp>
        <p:nvSpPr>
          <p:cNvPr id="39" name="Rectangle 38">
            <a:extLst>
              <a:ext uri="{FF2B5EF4-FFF2-40B4-BE49-F238E27FC236}">
                <a16:creationId xmlns:a16="http://schemas.microsoft.com/office/drawing/2014/main" id="{5B2EEF0C-24DA-DE1F-BDD5-C648180175F4}"/>
              </a:ext>
            </a:extLst>
          </p:cNvPr>
          <p:cNvSpPr/>
          <p:nvPr/>
        </p:nvSpPr>
        <p:spPr>
          <a:xfrm>
            <a:off x="7310388" y="3918630"/>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00GB</a:t>
            </a:r>
          </a:p>
        </p:txBody>
      </p:sp>
      <p:sp>
        <p:nvSpPr>
          <p:cNvPr id="40" name="Rectangle 39">
            <a:extLst>
              <a:ext uri="{FF2B5EF4-FFF2-40B4-BE49-F238E27FC236}">
                <a16:creationId xmlns:a16="http://schemas.microsoft.com/office/drawing/2014/main" id="{11EE325D-757E-6469-1BD0-803E3BF6CEF5}"/>
              </a:ext>
            </a:extLst>
          </p:cNvPr>
          <p:cNvSpPr/>
          <p:nvPr/>
        </p:nvSpPr>
        <p:spPr>
          <a:xfrm>
            <a:off x="7308893" y="4431841"/>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EU</a:t>
            </a:r>
          </a:p>
        </p:txBody>
      </p:sp>
      <p:sp>
        <p:nvSpPr>
          <p:cNvPr id="43" name="TextBox 42">
            <a:extLst>
              <a:ext uri="{FF2B5EF4-FFF2-40B4-BE49-F238E27FC236}">
                <a16:creationId xmlns:a16="http://schemas.microsoft.com/office/drawing/2014/main" id="{64C24424-64A0-6918-2B20-CD03E72A6631}"/>
              </a:ext>
            </a:extLst>
          </p:cNvPr>
          <p:cNvSpPr txBox="1"/>
          <p:nvPr/>
        </p:nvSpPr>
        <p:spPr>
          <a:xfrm>
            <a:off x="7310388" y="2571948"/>
            <a:ext cx="1728847" cy="677108"/>
          </a:xfrm>
          <a:prstGeom prst="rect">
            <a:avLst/>
          </a:prstGeom>
          <a:noFill/>
        </p:spPr>
        <p:txBody>
          <a:bodyPr wrap="square" rtlCol="0">
            <a:spAutoFit/>
          </a:bodyPr>
          <a:lstStyle/>
          <a:p>
            <a:pPr algn="ctr"/>
            <a:r>
              <a:rPr lang="sv-SE" sz="1600" b="1"/>
              <a:t>49 kr</a:t>
            </a:r>
          </a:p>
          <a:p>
            <a:pPr algn="ctr"/>
            <a:r>
              <a:rPr lang="sv-SE" sz="1100"/>
              <a:t>Inga begränsningar, godkänns via BIDS</a:t>
            </a:r>
            <a:endParaRPr lang="sv-SE" sz="1400"/>
          </a:p>
        </p:txBody>
      </p:sp>
      <p:sp>
        <p:nvSpPr>
          <p:cNvPr id="44" name="Rectangle 43">
            <a:extLst>
              <a:ext uri="{FF2B5EF4-FFF2-40B4-BE49-F238E27FC236}">
                <a16:creationId xmlns:a16="http://schemas.microsoft.com/office/drawing/2014/main" id="{121EF82F-F09C-7657-9E0F-30EAE620EA3D}"/>
              </a:ext>
            </a:extLst>
          </p:cNvPr>
          <p:cNvSpPr/>
          <p:nvPr/>
        </p:nvSpPr>
        <p:spPr>
          <a:xfrm>
            <a:off x="1585843" y="4968558"/>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0 Mbit/s</a:t>
            </a:r>
          </a:p>
        </p:txBody>
      </p:sp>
      <p:sp>
        <p:nvSpPr>
          <p:cNvPr id="45" name="Rectangle 44">
            <a:extLst>
              <a:ext uri="{FF2B5EF4-FFF2-40B4-BE49-F238E27FC236}">
                <a16:creationId xmlns:a16="http://schemas.microsoft.com/office/drawing/2014/main" id="{C8F4438D-6919-222D-8453-10547B941D59}"/>
              </a:ext>
            </a:extLst>
          </p:cNvPr>
          <p:cNvSpPr/>
          <p:nvPr/>
        </p:nvSpPr>
        <p:spPr>
          <a:xfrm>
            <a:off x="3508498" y="4968558"/>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300 Mbit/s</a:t>
            </a:r>
          </a:p>
        </p:txBody>
      </p:sp>
      <p:sp>
        <p:nvSpPr>
          <p:cNvPr id="46" name="Rectangle 45">
            <a:extLst>
              <a:ext uri="{FF2B5EF4-FFF2-40B4-BE49-F238E27FC236}">
                <a16:creationId xmlns:a16="http://schemas.microsoft.com/office/drawing/2014/main" id="{2B30A66C-61F8-2527-8A17-5D716DCE2396}"/>
              </a:ext>
            </a:extLst>
          </p:cNvPr>
          <p:cNvSpPr/>
          <p:nvPr/>
        </p:nvSpPr>
        <p:spPr>
          <a:xfrm>
            <a:off x="5401542" y="4968558"/>
            <a:ext cx="1713930"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 Mbit/s</a:t>
            </a:r>
          </a:p>
        </p:txBody>
      </p:sp>
      <p:sp>
        <p:nvSpPr>
          <p:cNvPr id="52" name="Rectangle 51">
            <a:extLst>
              <a:ext uri="{FF2B5EF4-FFF2-40B4-BE49-F238E27FC236}">
                <a16:creationId xmlns:a16="http://schemas.microsoft.com/office/drawing/2014/main" id="{34EF8BB7-F7F5-ABAB-FD31-CA06747B9330}"/>
              </a:ext>
            </a:extLst>
          </p:cNvPr>
          <p:cNvSpPr/>
          <p:nvPr/>
        </p:nvSpPr>
        <p:spPr>
          <a:xfrm>
            <a:off x="7308893" y="4968558"/>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0 Mbit/s</a:t>
            </a:r>
          </a:p>
        </p:txBody>
      </p:sp>
      <p:sp>
        <p:nvSpPr>
          <p:cNvPr id="53" name="Rectangle 52">
            <a:extLst>
              <a:ext uri="{FF2B5EF4-FFF2-40B4-BE49-F238E27FC236}">
                <a16:creationId xmlns:a16="http://schemas.microsoft.com/office/drawing/2014/main" id="{C4684DE4-8434-8E2C-8B17-4A6DB8B9DF6F}"/>
              </a:ext>
            </a:extLst>
          </p:cNvPr>
          <p:cNvSpPr/>
          <p:nvPr/>
        </p:nvSpPr>
        <p:spPr>
          <a:xfrm>
            <a:off x="7308893" y="5485352"/>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3Världen Surf”</a:t>
            </a:r>
          </a:p>
        </p:txBody>
      </p:sp>
      <p:sp>
        <p:nvSpPr>
          <p:cNvPr id="5" name="Rectangle: Rounded Corners 4">
            <a:extLst>
              <a:ext uri="{FF2B5EF4-FFF2-40B4-BE49-F238E27FC236}">
                <a16:creationId xmlns:a16="http://schemas.microsoft.com/office/drawing/2014/main" id="{05FD586D-19DC-BF3B-9A06-01A8565B4CFD}"/>
              </a:ext>
            </a:extLst>
          </p:cNvPr>
          <p:cNvSpPr/>
          <p:nvPr/>
        </p:nvSpPr>
        <p:spPr>
          <a:xfrm>
            <a:off x="9086741" y="1816505"/>
            <a:ext cx="1704154" cy="56653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a:solidFill>
                  <a:sysClr val="windowText" lastClr="000000"/>
                </a:solidFill>
              </a:rPr>
              <a:t>3Företag Datakort RAM EU</a:t>
            </a:r>
          </a:p>
        </p:txBody>
      </p:sp>
      <p:sp>
        <p:nvSpPr>
          <p:cNvPr id="9" name="Rectangle 8">
            <a:extLst>
              <a:ext uri="{FF2B5EF4-FFF2-40B4-BE49-F238E27FC236}">
                <a16:creationId xmlns:a16="http://schemas.microsoft.com/office/drawing/2014/main" id="{BB0B4FC8-2EB4-B7E0-3239-292B59FF585D}"/>
              </a:ext>
            </a:extLst>
          </p:cNvPr>
          <p:cNvSpPr/>
          <p:nvPr/>
        </p:nvSpPr>
        <p:spPr>
          <a:xfrm>
            <a:off x="9078460" y="3918630"/>
            <a:ext cx="1714033"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00GB</a:t>
            </a:r>
          </a:p>
        </p:txBody>
      </p:sp>
      <p:sp>
        <p:nvSpPr>
          <p:cNvPr id="11" name="Rectangle 10">
            <a:extLst>
              <a:ext uri="{FF2B5EF4-FFF2-40B4-BE49-F238E27FC236}">
                <a16:creationId xmlns:a16="http://schemas.microsoft.com/office/drawing/2014/main" id="{703DEA97-C10E-0B10-1FA0-5DBAC610ED0F}"/>
              </a:ext>
            </a:extLst>
          </p:cNvPr>
          <p:cNvSpPr/>
          <p:nvPr/>
        </p:nvSpPr>
        <p:spPr>
          <a:xfrm>
            <a:off x="9076965" y="4431841"/>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B EU</a:t>
            </a:r>
          </a:p>
        </p:txBody>
      </p:sp>
      <p:sp>
        <p:nvSpPr>
          <p:cNvPr id="12" name="TextBox 11">
            <a:extLst>
              <a:ext uri="{FF2B5EF4-FFF2-40B4-BE49-F238E27FC236}">
                <a16:creationId xmlns:a16="http://schemas.microsoft.com/office/drawing/2014/main" id="{2A09F07B-F840-6238-7232-EF39379545B1}"/>
              </a:ext>
            </a:extLst>
          </p:cNvPr>
          <p:cNvSpPr txBox="1"/>
          <p:nvPr/>
        </p:nvSpPr>
        <p:spPr>
          <a:xfrm>
            <a:off x="9078460" y="2571948"/>
            <a:ext cx="1728847" cy="677108"/>
          </a:xfrm>
          <a:prstGeom prst="rect">
            <a:avLst/>
          </a:prstGeom>
          <a:noFill/>
        </p:spPr>
        <p:txBody>
          <a:bodyPr wrap="square" rtlCol="0">
            <a:spAutoFit/>
          </a:bodyPr>
          <a:lstStyle/>
          <a:p>
            <a:pPr algn="ctr"/>
            <a:r>
              <a:rPr lang="sv-SE" sz="1600" b="1"/>
              <a:t>49 kr</a:t>
            </a:r>
          </a:p>
          <a:p>
            <a:pPr algn="ctr"/>
            <a:r>
              <a:rPr lang="sv-SE" sz="1100"/>
              <a:t>Inga begränsningar, godkänns via BIDS</a:t>
            </a:r>
            <a:endParaRPr lang="sv-SE" sz="1400"/>
          </a:p>
        </p:txBody>
      </p:sp>
      <p:sp>
        <p:nvSpPr>
          <p:cNvPr id="13" name="Rectangle 12">
            <a:extLst>
              <a:ext uri="{FF2B5EF4-FFF2-40B4-BE49-F238E27FC236}">
                <a16:creationId xmlns:a16="http://schemas.microsoft.com/office/drawing/2014/main" id="{5C49F7E0-8A41-D3BB-FCE6-0367CFF59C09}"/>
              </a:ext>
            </a:extLst>
          </p:cNvPr>
          <p:cNvSpPr/>
          <p:nvPr/>
        </p:nvSpPr>
        <p:spPr>
          <a:xfrm>
            <a:off x="9076965" y="4968558"/>
            <a:ext cx="1700345" cy="4365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5G – 1000 Mbit/s</a:t>
            </a:r>
          </a:p>
        </p:txBody>
      </p:sp>
    </p:spTree>
    <p:extLst>
      <p:ext uri="{BB962C8B-B14F-4D97-AF65-F5344CB8AC3E}">
        <p14:creationId xmlns:p14="http://schemas.microsoft.com/office/powerpoint/2010/main" val="2677644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EE140-C4A5-AD2B-05F5-4DBE2E58E5A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82EBA3-CBDB-4ECC-EF9C-B0DD1AF75C0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8" name="Object 7" hidden="1">
                        <a:extLst>
                          <a:ext uri="{FF2B5EF4-FFF2-40B4-BE49-F238E27FC236}">
                            <a16:creationId xmlns:a16="http://schemas.microsoft.com/office/drawing/2014/main" id="{FC82EBA3-CBDB-4ECC-EF9C-B0DD1AF75C03}"/>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E05789-8BE4-4FF9-A58D-89F920B9AF4B}"/>
              </a:ext>
            </a:extLst>
          </p:cNvPr>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HelveticaNeueLT Std" panose="020B0604020202020204"/>
              <a:ea typeface="+mj-ea"/>
              <a:cs typeface="+mj-cs"/>
              <a:sym typeface="HelveticaNeueLT Std" panose="020B0604020202020204"/>
            </a:endParaRPr>
          </a:p>
        </p:txBody>
      </p:sp>
      <p:sp>
        <p:nvSpPr>
          <p:cNvPr id="2" name="Title 1">
            <a:extLst>
              <a:ext uri="{FF2B5EF4-FFF2-40B4-BE49-F238E27FC236}">
                <a16:creationId xmlns:a16="http://schemas.microsoft.com/office/drawing/2014/main" id="{E1284F91-716A-2858-E5AB-F9AD5074113F}"/>
              </a:ext>
            </a:extLst>
          </p:cNvPr>
          <p:cNvSpPr>
            <a:spLocks noGrp="1"/>
          </p:cNvSpPr>
          <p:nvPr>
            <p:ph type="title"/>
          </p:nvPr>
        </p:nvSpPr>
        <p:spPr>
          <a:xfrm>
            <a:off x="555100" y="519132"/>
            <a:ext cx="11130463" cy="785794"/>
          </a:xfrm>
        </p:spPr>
        <p:txBody>
          <a:bodyPr vert="horz"/>
          <a:lstStyle/>
          <a:p>
            <a:r>
              <a:rPr lang="en-US" sz="2400"/>
              <a:t>Competitor analysis – New Portfolio</a:t>
            </a:r>
          </a:p>
        </p:txBody>
      </p:sp>
      <p:pic>
        <p:nvPicPr>
          <p:cNvPr id="170" name="Picture 169">
            <a:extLst>
              <a:ext uri="{FF2B5EF4-FFF2-40B4-BE49-F238E27FC236}">
                <a16:creationId xmlns:a16="http://schemas.microsoft.com/office/drawing/2014/main" id="{591B545B-D653-0D1A-4A04-92C65D7254E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0216" b="15615"/>
          <a:stretch/>
        </p:blipFill>
        <p:spPr>
          <a:xfrm>
            <a:off x="659722" y="1956632"/>
            <a:ext cx="843569" cy="446918"/>
          </a:xfrm>
          <a:prstGeom prst="rect">
            <a:avLst/>
          </a:prstGeom>
        </p:spPr>
      </p:pic>
      <p:pic>
        <p:nvPicPr>
          <p:cNvPr id="152" name="Picture 151">
            <a:extLst>
              <a:ext uri="{FF2B5EF4-FFF2-40B4-BE49-F238E27FC236}">
                <a16:creationId xmlns:a16="http://schemas.microsoft.com/office/drawing/2014/main" id="{0B790EAE-1771-0BF9-8FAC-961DBBB956F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334" t="19640" r="13324" b="12883"/>
          <a:stretch/>
        </p:blipFill>
        <p:spPr>
          <a:xfrm>
            <a:off x="659722" y="2842206"/>
            <a:ext cx="843569" cy="414871"/>
          </a:xfrm>
          <a:prstGeom prst="rect">
            <a:avLst/>
          </a:prstGeom>
        </p:spPr>
      </p:pic>
      <p:sp>
        <p:nvSpPr>
          <p:cNvPr id="196" name="Rectangle: Rounded Corners 195">
            <a:extLst>
              <a:ext uri="{FF2B5EF4-FFF2-40B4-BE49-F238E27FC236}">
                <a16:creationId xmlns:a16="http://schemas.microsoft.com/office/drawing/2014/main" id="{8A4A5125-6811-A3AE-ED5B-31E555953EED}"/>
              </a:ext>
            </a:extLst>
          </p:cNvPr>
          <p:cNvSpPr/>
          <p:nvPr/>
        </p:nvSpPr>
        <p:spPr>
          <a:xfrm>
            <a:off x="2917088" y="1632510"/>
            <a:ext cx="614487"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5GB</a:t>
            </a:r>
          </a:p>
        </p:txBody>
      </p:sp>
      <p:sp>
        <p:nvSpPr>
          <p:cNvPr id="198" name="Rectangle: Rounded Corners 197">
            <a:extLst>
              <a:ext uri="{FF2B5EF4-FFF2-40B4-BE49-F238E27FC236}">
                <a16:creationId xmlns:a16="http://schemas.microsoft.com/office/drawing/2014/main" id="{1AE4A41B-4317-394E-4FF2-33AAA2061E5E}"/>
              </a:ext>
            </a:extLst>
          </p:cNvPr>
          <p:cNvSpPr/>
          <p:nvPr/>
        </p:nvSpPr>
        <p:spPr>
          <a:xfrm>
            <a:off x="4533196" y="1632472"/>
            <a:ext cx="636273"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50GB</a:t>
            </a:r>
          </a:p>
        </p:txBody>
      </p:sp>
      <p:sp>
        <p:nvSpPr>
          <p:cNvPr id="200" name="Rectangle: Rounded Corners 199">
            <a:extLst>
              <a:ext uri="{FF2B5EF4-FFF2-40B4-BE49-F238E27FC236}">
                <a16:creationId xmlns:a16="http://schemas.microsoft.com/office/drawing/2014/main" id="{2A521935-180D-28F0-7016-2DC49133FDDD}"/>
              </a:ext>
            </a:extLst>
          </p:cNvPr>
          <p:cNvSpPr/>
          <p:nvPr/>
        </p:nvSpPr>
        <p:spPr>
          <a:xfrm>
            <a:off x="5287141" y="1632472"/>
            <a:ext cx="631523"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75GB</a:t>
            </a:r>
          </a:p>
        </p:txBody>
      </p:sp>
      <p:sp>
        <p:nvSpPr>
          <p:cNvPr id="202" name="Rectangle: Rounded Corners 201">
            <a:extLst>
              <a:ext uri="{FF2B5EF4-FFF2-40B4-BE49-F238E27FC236}">
                <a16:creationId xmlns:a16="http://schemas.microsoft.com/office/drawing/2014/main" id="{41AB94C1-6508-0886-5367-020174221AFC}"/>
              </a:ext>
            </a:extLst>
          </p:cNvPr>
          <p:cNvSpPr/>
          <p:nvPr/>
        </p:nvSpPr>
        <p:spPr>
          <a:xfrm>
            <a:off x="7005264" y="1632472"/>
            <a:ext cx="700608"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500GB</a:t>
            </a:r>
          </a:p>
        </p:txBody>
      </p:sp>
      <p:sp>
        <p:nvSpPr>
          <p:cNvPr id="204" name="Rectangle: Rounded Corners 203">
            <a:extLst>
              <a:ext uri="{FF2B5EF4-FFF2-40B4-BE49-F238E27FC236}">
                <a16:creationId xmlns:a16="http://schemas.microsoft.com/office/drawing/2014/main" id="{50995898-B874-FD54-746A-7E6807FF9267}"/>
              </a:ext>
            </a:extLst>
          </p:cNvPr>
          <p:cNvSpPr/>
          <p:nvPr/>
        </p:nvSpPr>
        <p:spPr>
          <a:xfrm>
            <a:off x="7834832" y="1448824"/>
            <a:ext cx="747490" cy="476854"/>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Unlimited Max</a:t>
            </a:r>
          </a:p>
        </p:txBody>
      </p:sp>
      <p:sp>
        <p:nvSpPr>
          <p:cNvPr id="222" name="Rectangle: Rounded Corners 221">
            <a:extLst>
              <a:ext uri="{FF2B5EF4-FFF2-40B4-BE49-F238E27FC236}">
                <a16:creationId xmlns:a16="http://schemas.microsoft.com/office/drawing/2014/main" id="{2D6B9043-7EA1-98CF-9498-7CB3E8DE0DB7}"/>
              </a:ext>
            </a:extLst>
          </p:cNvPr>
          <p:cNvSpPr/>
          <p:nvPr/>
        </p:nvSpPr>
        <p:spPr>
          <a:xfrm>
            <a:off x="1726416" y="1632472"/>
            <a:ext cx="957452"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cap="small">
                <a:solidFill>
                  <a:prstClr val="black"/>
                </a:solidFill>
                <a:latin typeface="HelveticaNeueLT Std" panose="020B0604020202020204" pitchFamily="34" charset="0"/>
              </a:rPr>
              <a:t>Buckets</a:t>
            </a:r>
          </a:p>
        </p:txBody>
      </p:sp>
      <p:sp>
        <p:nvSpPr>
          <p:cNvPr id="138" name="Rectangle 137">
            <a:extLst>
              <a:ext uri="{FF2B5EF4-FFF2-40B4-BE49-F238E27FC236}">
                <a16:creationId xmlns:a16="http://schemas.microsoft.com/office/drawing/2014/main" id="{733E9143-7930-A3D4-1FF5-E4BC3BB4BC52}"/>
              </a:ext>
            </a:extLst>
          </p:cNvPr>
          <p:cNvSpPr/>
          <p:nvPr/>
        </p:nvSpPr>
        <p:spPr>
          <a:xfrm>
            <a:off x="1736236" y="2411654"/>
            <a:ext cx="9796035" cy="386611"/>
          </a:xfrm>
          <a:prstGeom prst="rect">
            <a:avLst/>
          </a:prstGeom>
          <a:solidFill>
            <a:srgbClr val="FF5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10"/>
            <a:endParaRPr lang="en-US" sz="1200">
              <a:solidFill>
                <a:prstClr val="white"/>
              </a:solidFill>
              <a:latin typeface="HelveticaNeueLT Std" panose="020B0604020202020204" pitchFamily="34" charset="0"/>
            </a:endParaRPr>
          </a:p>
        </p:txBody>
      </p:sp>
      <p:sp>
        <p:nvSpPr>
          <p:cNvPr id="171" name="Rectangle 170">
            <a:extLst>
              <a:ext uri="{FF2B5EF4-FFF2-40B4-BE49-F238E27FC236}">
                <a16:creationId xmlns:a16="http://schemas.microsoft.com/office/drawing/2014/main" id="{3B4A2CAD-0348-55F8-AB36-ED9C3A80A06B}"/>
              </a:ext>
            </a:extLst>
          </p:cNvPr>
          <p:cNvSpPr/>
          <p:nvPr/>
        </p:nvSpPr>
        <p:spPr>
          <a:xfrm>
            <a:off x="1736235" y="1985708"/>
            <a:ext cx="9796033" cy="386611"/>
          </a:xfrm>
          <a:prstGeom prst="rect">
            <a:avLst/>
          </a:prstGeom>
          <a:solidFill>
            <a:srgbClr val="00B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10"/>
            <a:endParaRPr lang="en-US" sz="1200">
              <a:solidFill>
                <a:prstClr val="white"/>
              </a:solidFill>
              <a:latin typeface="HelveticaNeueLT Std" panose="020B0604020202020204" pitchFamily="34" charset="0"/>
            </a:endParaRPr>
          </a:p>
        </p:txBody>
      </p:sp>
      <p:grpSp>
        <p:nvGrpSpPr>
          <p:cNvPr id="365" name="Group 364">
            <a:extLst>
              <a:ext uri="{FF2B5EF4-FFF2-40B4-BE49-F238E27FC236}">
                <a16:creationId xmlns:a16="http://schemas.microsoft.com/office/drawing/2014/main" id="{6386AB80-7DDD-2AC5-BBBE-D7C61E1C333D}"/>
              </a:ext>
            </a:extLst>
          </p:cNvPr>
          <p:cNvGrpSpPr/>
          <p:nvPr/>
        </p:nvGrpSpPr>
        <p:grpSpPr>
          <a:xfrm>
            <a:off x="7301177" y="1989784"/>
            <a:ext cx="1771905" cy="386611"/>
            <a:chOff x="1013974" y="1131590"/>
            <a:chExt cx="1361199" cy="334649"/>
          </a:xfrm>
        </p:grpSpPr>
        <p:sp>
          <p:nvSpPr>
            <p:cNvPr id="366" name="TextBox 365">
              <a:extLst>
                <a:ext uri="{FF2B5EF4-FFF2-40B4-BE49-F238E27FC236}">
                  <a16:creationId xmlns:a16="http://schemas.microsoft.com/office/drawing/2014/main" id="{54B7844A-3A5B-536D-4746-6FC9A032E6D9}"/>
                </a:ext>
              </a:extLst>
            </p:cNvPr>
            <p:cNvSpPr txBox="1"/>
            <p:nvPr/>
          </p:nvSpPr>
          <p:spPr>
            <a:xfrm>
              <a:off x="1013974" y="1205386"/>
              <a:ext cx="1361199"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99</a:t>
              </a:r>
            </a:p>
          </p:txBody>
        </p:sp>
        <p:cxnSp>
          <p:nvCxnSpPr>
            <p:cNvPr id="367" name="Straight Arrow Connector 366">
              <a:extLst>
                <a:ext uri="{FF2B5EF4-FFF2-40B4-BE49-F238E27FC236}">
                  <a16:creationId xmlns:a16="http://schemas.microsoft.com/office/drawing/2014/main" id="{15262F15-2636-1920-1CED-3C238885E01C}"/>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8" name="Straight Arrow Connector 367">
              <a:extLst>
                <a:ext uri="{FF2B5EF4-FFF2-40B4-BE49-F238E27FC236}">
                  <a16:creationId xmlns:a16="http://schemas.microsoft.com/office/drawing/2014/main" id="{7776CCC5-716B-AC88-2684-856A0D746C79}"/>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156">
            <a:extLst>
              <a:ext uri="{FF2B5EF4-FFF2-40B4-BE49-F238E27FC236}">
                <a16:creationId xmlns:a16="http://schemas.microsoft.com/office/drawing/2014/main" id="{284841EE-C002-153B-1EB8-8935F4E60F68}"/>
              </a:ext>
            </a:extLst>
          </p:cNvPr>
          <p:cNvSpPr/>
          <p:nvPr/>
        </p:nvSpPr>
        <p:spPr>
          <a:xfrm>
            <a:off x="1736237" y="2825493"/>
            <a:ext cx="9796038" cy="386611"/>
          </a:xfrm>
          <a:prstGeom prst="rect">
            <a:avLst/>
          </a:prstGeom>
          <a:solidFill>
            <a:srgbClr val="980A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10"/>
            <a:endParaRPr lang="en-US" sz="1200">
              <a:solidFill>
                <a:prstClr val="white"/>
              </a:solidFill>
              <a:latin typeface="HelveticaNeueLT Std" panose="020B0604020202020204" pitchFamily="34" charset="0"/>
            </a:endParaRPr>
          </a:p>
        </p:txBody>
      </p:sp>
      <p:grpSp>
        <p:nvGrpSpPr>
          <p:cNvPr id="190" name="Group 189">
            <a:extLst>
              <a:ext uri="{FF2B5EF4-FFF2-40B4-BE49-F238E27FC236}">
                <a16:creationId xmlns:a16="http://schemas.microsoft.com/office/drawing/2014/main" id="{AB479147-527E-FED0-13E5-C50FE91EB1A7}"/>
              </a:ext>
            </a:extLst>
          </p:cNvPr>
          <p:cNvGrpSpPr/>
          <p:nvPr/>
        </p:nvGrpSpPr>
        <p:grpSpPr>
          <a:xfrm>
            <a:off x="6492633" y="2827500"/>
            <a:ext cx="1765388" cy="386611"/>
            <a:chOff x="1226516" y="1131590"/>
            <a:chExt cx="965888" cy="334649"/>
          </a:xfrm>
        </p:grpSpPr>
        <p:sp>
          <p:nvSpPr>
            <p:cNvPr id="191" name="TextBox 190">
              <a:extLst>
                <a:ext uri="{FF2B5EF4-FFF2-40B4-BE49-F238E27FC236}">
                  <a16:creationId xmlns:a16="http://schemas.microsoft.com/office/drawing/2014/main" id="{88281DD0-AD3A-A4C7-3028-A433C964C195}"/>
                </a:ext>
              </a:extLst>
            </p:cNvPr>
            <p:cNvSpPr txBox="1"/>
            <p:nvPr/>
          </p:nvSpPr>
          <p:spPr>
            <a:xfrm>
              <a:off x="1226516"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99</a:t>
              </a:r>
            </a:p>
          </p:txBody>
        </p:sp>
        <p:cxnSp>
          <p:nvCxnSpPr>
            <p:cNvPr id="192" name="Straight Arrow Connector 191">
              <a:extLst>
                <a:ext uri="{FF2B5EF4-FFF2-40B4-BE49-F238E27FC236}">
                  <a16:creationId xmlns:a16="http://schemas.microsoft.com/office/drawing/2014/main" id="{0007143E-AEDE-8BF4-BEBD-DF5CB279C43C}"/>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7281EC9A-F9CD-6252-8BCD-803A1897821B}"/>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050FA117-212A-05FF-92C9-F8F99A429DB6}"/>
              </a:ext>
            </a:extLst>
          </p:cNvPr>
          <p:cNvGrpSpPr/>
          <p:nvPr/>
        </p:nvGrpSpPr>
        <p:grpSpPr>
          <a:xfrm>
            <a:off x="4909956" y="2418434"/>
            <a:ext cx="1375745" cy="386610"/>
            <a:chOff x="1256526" y="1131590"/>
            <a:chExt cx="888630" cy="334649"/>
          </a:xfrm>
        </p:grpSpPr>
        <p:sp>
          <p:nvSpPr>
            <p:cNvPr id="240" name="TextBox 239">
              <a:extLst>
                <a:ext uri="{FF2B5EF4-FFF2-40B4-BE49-F238E27FC236}">
                  <a16:creationId xmlns:a16="http://schemas.microsoft.com/office/drawing/2014/main" id="{FE067CAD-F0A9-23E7-CC31-C92CA7EF186D}"/>
                </a:ext>
              </a:extLst>
            </p:cNvPr>
            <p:cNvSpPr txBox="1"/>
            <p:nvPr/>
          </p:nvSpPr>
          <p:spPr>
            <a:xfrm>
              <a:off x="1256526" y="1205386"/>
              <a:ext cx="888630" cy="159847"/>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249</a:t>
              </a:r>
            </a:p>
          </p:txBody>
        </p:sp>
        <p:cxnSp>
          <p:nvCxnSpPr>
            <p:cNvPr id="241" name="Straight Arrow Connector 240">
              <a:extLst>
                <a:ext uri="{FF2B5EF4-FFF2-40B4-BE49-F238E27FC236}">
                  <a16:creationId xmlns:a16="http://schemas.microsoft.com/office/drawing/2014/main" id="{FC689D9F-E33D-6317-84A3-7BD4CBF91BCF}"/>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66761B83-D836-BF7E-DB58-CBB9C3640F4A}"/>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C3D965F5-6062-8A2B-DD4E-756A77446B54}"/>
              </a:ext>
            </a:extLst>
          </p:cNvPr>
          <p:cNvGrpSpPr/>
          <p:nvPr/>
        </p:nvGrpSpPr>
        <p:grpSpPr>
          <a:xfrm>
            <a:off x="7639058" y="2418434"/>
            <a:ext cx="1156752" cy="386610"/>
            <a:chOff x="1274994" y="1131590"/>
            <a:chExt cx="888630" cy="334649"/>
          </a:xfrm>
        </p:grpSpPr>
        <p:sp>
          <p:nvSpPr>
            <p:cNvPr id="249" name="TextBox 248">
              <a:extLst>
                <a:ext uri="{FF2B5EF4-FFF2-40B4-BE49-F238E27FC236}">
                  <a16:creationId xmlns:a16="http://schemas.microsoft.com/office/drawing/2014/main" id="{F613AF24-8D70-D0C7-51C6-9A885FC7E4E7}"/>
                </a:ext>
              </a:extLst>
            </p:cNvPr>
            <p:cNvSpPr txBox="1"/>
            <p:nvPr/>
          </p:nvSpPr>
          <p:spPr>
            <a:xfrm>
              <a:off x="1274994" y="1205386"/>
              <a:ext cx="888630" cy="159847"/>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49</a:t>
              </a:r>
            </a:p>
          </p:txBody>
        </p:sp>
        <p:cxnSp>
          <p:nvCxnSpPr>
            <p:cNvPr id="250" name="Straight Arrow Connector 249">
              <a:extLst>
                <a:ext uri="{FF2B5EF4-FFF2-40B4-BE49-F238E27FC236}">
                  <a16:creationId xmlns:a16="http://schemas.microsoft.com/office/drawing/2014/main" id="{8F9A4F3F-1568-41EF-8DC7-E3FACC1AFBE6}"/>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56C78CE9-B4D0-6AEF-F39A-A8C820B6366C}"/>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73E115B7-BBEC-BAD7-866B-1A08C04A7352}"/>
              </a:ext>
            </a:extLst>
          </p:cNvPr>
          <p:cNvGrpSpPr/>
          <p:nvPr/>
        </p:nvGrpSpPr>
        <p:grpSpPr>
          <a:xfrm>
            <a:off x="4199427" y="2827500"/>
            <a:ext cx="1257321" cy="386611"/>
            <a:chOff x="1225541" y="1131590"/>
            <a:chExt cx="965888" cy="334649"/>
          </a:xfrm>
        </p:grpSpPr>
        <p:sp>
          <p:nvSpPr>
            <p:cNvPr id="257" name="TextBox 256">
              <a:extLst>
                <a:ext uri="{FF2B5EF4-FFF2-40B4-BE49-F238E27FC236}">
                  <a16:creationId xmlns:a16="http://schemas.microsoft.com/office/drawing/2014/main" id="{FDF4410B-C33D-6AC2-F3D6-F90420C6CC2B}"/>
                </a:ext>
              </a:extLst>
            </p:cNvPr>
            <p:cNvSpPr txBox="1"/>
            <p:nvPr/>
          </p:nvSpPr>
          <p:spPr>
            <a:xfrm>
              <a:off x="1225541"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299</a:t>
              </a:r>
            </a:p>
          </p:txBody>
        </p:sp>
        <p:cxnSp>
          <p:nvCxnSpPr>
            <p:cNvPr id="258" name="Straight Arrow Connector 257">
              <a:extLst>
                <a:ext uri="{FF2B5EF4-FFF2-40B4-BE49-F238E27FC236}">
                  <a16:creationId xmlns:a16="http://schemas.microsoft.com/office/drawing/2014/main" id="{4AAAA0AE-4733-F7F3-5275-C33ABD4C91E3}"/>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603B925-8190-4F08-A67E-75D6AFAD0DDB}"/>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1026" name="Picture 2" descr="Betalning - Tele2">
            <a:extLst>
              <a:ext uri="{FF2B5EF4-FFF2-40B4-BE49-F238E27FC236}">
                <a16:creationId xmlns:a16="http://schemas.microsoft.com/office/drawing/2014/main" id="{6D01813F-5DB5-7F43-D915-79553778EB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7806" y="2467171"/>
            <a:ext cx="627401" cy="34507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E34A838C-75CC-4FDD-082E-EAFA6864A1AB}"/>
              </a:ext>
            </a:extLst>
          </p:cNvPr>
          <p:cNvSpPr txBox="1"/>
          <p:nvPr/>
        </p:nvSpPr>
        <p:spPr>
          <a:xfrm>
            <a:off x="515938" y="6345238"/>
            <a:ext cx="5257065" cy="246221"/>
          </a:xfrm>
          <a:prstGeom prst="rect">
            <a:avLst/>
          </a:prstGeom>
          <a:noFill/>
        </p:spPr>
        <p:txBody>
          <a:bodyPr wrap="square" rtlCol="0">
            <a:spAutoFit/>
          </a:bodyPr>
          <a:lstStyle/>
          <a:p>
            <a:pPr algn="l"/>
            <a:r>
              <a:rPr lang="en-US" sz="1000" i="1"/>
              <a:t>Source: Competitor homepages, Aug 2024</a:t>
            </a:r>
          </a:p>
        </p:txBody>
      </p:sp>
      <p:sp>
        <p:nvSpPr>
          <p:cNvPr id="9" name="Rectangle 8">
            <a:extLst>
              <a:ext uri="{FF2B5EF4-FFF2-40B4-BE49-F238E27FC236}">
                <a16:creationId xmlns:a16="http://schemas.microsoft.com/office/drawing/2014/main" id="{FDBB84F2-5AB9-C45E-1EFB-C7807774E39C}"/>
              </a:ext>
            </a:extLst>
          </p:cNvPr>
          <p:cNvSpPr/>
          <p:nvPr/>
        </p:nvSpPr>
        <p:spPr>
          <a:xfrm>
            <a:off x="1736237" y="3237294"/>
            <a:ext cx="9796039" cy="386611"/>
          </a:xfrm>
          <a:prstGeom prst="rect">
            <a:avLst/>
          </a:prstGeom>
          <a:solidFill>
            <a:srgbClr val="FF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10"/>
            <a:endParaRPr lang="en-US" sz="1200">
              <a:solidFill>
                <a:prstClr val="white"/>
              </a:solidFill>
              <a:latin typeface="HelveticaNeueLT Std" panose="020B0604020202020204" pitchFamily="34" charset="0"/>
            </a:endParaRPr>
          </a:p>
        </p:txBody>
      </p:sp>
      <p:grpSp>
        <p:nvGrpSpPr>
          <p:cNvPr id="18" name="Group 17">
            <a:extLst>
              <a:ext uri="{FF2B5EF4-FFF2-40B4-BE49-F238E27FC236}">
                <a16:creationId xmlns:a16="http://schemas.microsoft.com/office/drawing/2014/main" id="{D81A2294-084E-737D-710C-19CC5E70C5B4}"/>
              </a:ext>
            </a:extLst>
          </p:cNvPr>
          <p:cNvGrpSpPr/>
          <p:nvPr/>
        </p:nvGrpSpPr>
        <p:grpSpPr>
          <a:xfrm>
            <a:off x="7324194" y="3239301"/>
            <a:ext cx="1765388" cy="386611"/>
            <a:chOff x="1226516" y="1131590"/>
            <a:chExt cx="965888" cy="334649"/>
          </a:xfrm>
        </p:grpSpPr>
        <p:sp>
          <p:nvSpPr>
            <p:cNvPr id="20" name="TextBox 19">
              <a:extLst>
                <a:ext uri="{FF2B5EF4-FFF2-40B4-BE49-F238E27FC236}">
                  <a16:creationId xmlns:a16="http://schemas.microsoft.com/office/drawing/2014/main" id="{78E2AAB7-95DA-BC73-FBE2-8B315512FC2D}"/>
                </a:ext>
              </a:extLst>
            </p:cNvPr>
            <p:cNvSpPr txBox="1"/>
            <p:nvPr/>
          </p:nvSpPr>
          <p:spPr>
            <a:xfrm>
              <a:off x="1226516"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49</a:t>
              </a:r>
            </a:p>
          </p:txBody>
        </p:sp>
        <p:cxnSp>
          <p:nvCxnSpPr>
            <p:cNvPr id="22" name="Straight Arrow Connector 21">
              <a:extLst>
                <a:ext uri="{FF2B5EF4-FFF2-40B4-BE49-F238E27FC236}">
                  <a16:creationId xmlns:a16="http://schemas.microsoft.com/office/drawing/2014/main" id="{22D5DD9B-386C-8747-DBE7-A819CD87D963}"/>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3266678-3F61-E7E6-8632-2C97152A03E9}"/>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4ADEAF0-2A0D-CCE3-665D-06C62446157F}"/>
              </a:ext>
            </a:extLst>
          </p:cNvPr>
          <p:cNvGrpSpPr/>
          <p:nvPr/>
        </p:nvGrpSpPr>
        <p:grpSpPr>
          <a:xfrm>
            <a:off x="2643307" y="3239301"/>
            <a:ext cx="1257321" cy="386611"/>
            <a:chOff x="1225541" y="1131590"/>
            <a:chExt cx="965888" cy="334649"/>
          </a:xfrm>
        </p:grpSpPr>
        <p:sp>
          <p:nvSpPr>
            <p:cNvPr id="25" name="TextBox 24">
              <a:extLst>
                <a:ext uri="{FF2B5EF4-FFF2-40B4-BE49-F238E27FC236}">
                  <a16:creationId xmlns:a16="http://schemas.microsoft.com/office/drawing/2014/main" id="{C462E068-B0F0-CBDE-D332-44698865AADD}"/>
                </a:ext>
              </a:extLst>
            </p:cNvPr>
            <p:cNvSpPr txBox="1"/>
            <p:nvPr/>
          </p:nvSpPr>
          <p:spPr>
            <a:xfrm>
              <a:off x="1225541"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99</a:t>
              </a:r>
            </a:p>
          </p:txBody>
        </p:sp>
        <p:cxnSp>
          <p:nvCxnSpPr>
            <p:cNvPr id="26" name="Straight Arrow Connector 25">
              <a:extLst>
                <a:ext uri="{FF2B5EF4-FFF2-40B4-BE49-F238E27FC236}">
                  <a16:creationId xmlns:a16="http://schemas.microsoft.com/office/drawing/2014/main" id="{C01BE29F-AB5F-AB5B-1809-9CC858DA41AD}"/>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0CFD03F-86E0-EB7B-CE70-CD07E91A52A3}"/>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47" name="Picture 46">
            <a:extLst>
              <a:ext uri="{FF2B5EF4-FFF2-40B4-BE49-F238E27FC236}">
                <a16:creationId xmlns:a16="http://schemas.microsoft.com/office/drawing/2014/main" id="{677E33B7-96F0-EBFB-15C4-9901E8E8B680}"/>
              </a:ext>
            </a:extLst>
          </p:cNvPr>
          <p:cNvPicPr>
            <a:picLocks noChangeAspect="1"/>
          </p:cNvPicPr>
          <p:nvPr/>
        </p:nvPicPr>
        <p:blipFill>
          <a:blip r:embed="rId10"/>
          <a:stretch>
            <a:fillRect/>
          </a:stretch>
        </p:blipFill>
        <p:spPr>
          <a:xfrm>
            <a:off x="978144" y="3245165"/>
            <a:ext cx="303868" cy="386611"/>
          </a:xfrm>
          <a:prstGeom prst="rect">
            <a:avLst/>
          </a:prstGeom>
        </p:spPr>
      </p:pic>
      <p:pic>
        <p:nvPicPr>
          <p:cNvPr id="49" name="Picture 48">
            <a:extLst>
              <a:ext uri="{FF2B5EF4-FFF2-40B4-BE49-F238E27FC236}">
                <a16:creationId xmlns:a16="http://schemas.microsoft.com/office/drawing/2014/main" id="{001C79D9-13BB-5485-60A5-992CCFA26180}"/>
              </a:ext>
            </a:extLst>
          </p:cNvPr>
          <p:cNvPicPr>
            <a:picLocks noChangeAspect="1"/>
          </p:cNvPicPr>
          <p:nvPr/>
        </p:nvPicPr>
        <p:blipFill>
          <a:blip r:embed="rId11"/>
          <a:stretch>
            <a:fillRect/>
          </a:stretch>
        </p:blipFill>
        <p:spPr>
          <a:xfrm>
            <a:off x="9274912" y="1348784"/>
            <a:ext cx="276548" cy="433576"/>
          </a:xfrm>
          <a:prstGeom prst="rect">
            <a:avLst/>
          </a:prstGeom>
        </p:spPr>
      </p:pic>
      <p:sp>
        <p:nvSpPr>
          <p:cNvPr id="52" name="TextBox 51">
            <a:extLst>
              <a:ext uri="{FF2B5EF4-FFF2-40B4-BE49-F238E27FC236}">
                <a16:creationId xmlns:a16="http://schemas.microsoft.com/office/drawing/2014/main" id="{1E78A74A-596D-D409-E306-5F9C77FDB382}"/>
              </a:ext>
            </a:extLst>
          </p:cNvPr>
          <p:cNvSpPr txBox="1"/>
          <p:nvPr/>
        </p:nvSpPr>
        <p:spPr>
          <a:xfrm>
            <a:off x="9064674" y="1756749"/>
            <a:ext cx="69702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1" u="none" strike="noStrike" kern="1200" cap="none" spc="0" normalizeH="0" baseline="0" noProof="0">
                <a:ln>
                  <a:noFill/>
                </a:ln>
                <a:solidFill>
                  <a:prstClr val="black"/>
                </a:solidFill>
                <a:effectLst/>
                <a:uLnTx/>
                <a:uFillTx/>
                <a:latin typeface="HelveticaNeueLT Std"/>
                <a:ea typeface="+mn-ea"/>
                <a:cs typeface="+mn-cs"/>
              </a:rPr>
              <a:t>UNL  + Indoor</a:t>
            </a:r>
          </a:p>
        </p:txBody>
      </p:sp>
      <p:grpSp>
        <p:nvGrpSpPr>
          <p:cNvPr id="53" name="Group 52">
            <a:extLst>
              <a:ext uri="{FF2B5EF4-FFF2-40B4-BE49-F238E27FC236}">
                <a16:creationId xmlns:a16="http://schemas.microsoft.com/office/drawing/2014/main" id="{44AA8478-EF33-CE36-716B-336874A6CF61}"/>
              </a:ext>
            </a:extLst>
          </p:cNvPr>
          <p:cNvGrpSpPr/>
          <p:nvPr/>
        </p:nvGrpSpPr>
        <p:grpSpPr>
          <a:xfrm>
            <a:off x="8512387" y="1989784"/>
            <a:ext cx="1771905" cy="386611"/>
            <a:chOff x="1013974" y="1131590"/>
            <a:chExt cx="1361199" cy="334649"/>
          </a:xfrm>
        </p:grpSpPr>
        <p:sp>
          <p:nvSpPr>
            <p:cNvPr id="54" name="TextBox 53">
              <a:extLst>
                <a:ext uri="{FF2B5EF4-FFF2-40B4-BE49-F238E27FC236}">
                  <a16:creationId xmlns:a16="http://schemas.microsoft.com/office/drawing/2014/main" id="{444F31DF-AB19-7FAF-3A70-C71EF3B5F7D3}"/>
                </a:ext>
              </a:extLst>
            </p:cNvPr>
            <p:cNvSpPr txBox="1"/>
            <p:nvPr/>
          </p:nvSpPr>
          <p:spPr>
            <a:xfrm>
              <a:off x="1013974" y="1205386"/>
              <a:ext cx="1361199"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499, 24m (5G)</a:t>
              </a:r>
            </a:p>
          </p:txBody>
        </p:sp>
        <p:cxnSp>
          <p:nvCxnSpPr>
            <p:cNvPr id="55" name="Straight Arrow Connector 54">
              <a:extLst>
                <a:ext uri="{FF2B5EF4-FFF2-40B4-BE49-F238E27FC236}">
                  <a16:creationId xmlns:a16="http://schemas.microsoft.com/office/drawing/2014/main" id="{7C3E047D-141D-922A-F0DA-8825E629E93A}"/>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C64AFEF0-C76A-442F-2873-BA2C995991B5}"/>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388D6B73-4909-0F8C-72DC-288D14EAC723}"/>
              </a:ext>
            </a:extLst>
          </p:cNvPr>
          <p:cNvSpPr txBox="1"/>
          <p:nvPr/>
        </p:nvSpPr>
        <p:spPr>
          <a:xfrm>
            <a:off x="10328762" y="1746420"/>
            <a:ext cx="967370"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600" i="1">
                <a:solidFill>
                  <a:prstClr val="black"/>
                </a:solidFill>
                <a:latin typeface="HelveticaNeueLT Std"/>
              </a:rPr>
              <a:t>UNL + O</a:t>
            </a:r>
            <a:r>
              <a:rPr kumimoji="0" lang="sv-SE" sz="600" b="0" i="1" u="none" strike="noStrike" kern="1200" cap="none" spc="0" normalizeH="0" baseline="0" noProof="0" err="1">
                <a:ln>
                  <a:noFill/>
                </a:ln>
                <a:solidFill>
                  <a:prstClr val="black"/>
                </a:solidFill>
                <a:effectLst/>
                <a:uLnTx/>
                <a:uFillTx/>
                <a:latin typeface="HelveticaNeueLT Std"/>
                <a:ea typeface="+mn-ea"/>
                <a:cs typeface="+mn-cs"/>
              </a:rPr>
              <a:t>utdoor</a:t>
            </a:r>
            <a:endParaRPr kumimoji="0" lang="sv-SE" sz="600" b="0" i="1" u="none" strike="noStrike" kern="1200" cap="none" spc="0" normalizeH="0" baseline="0" noProof="0">
              <a:ln>
                <a:noFill/>
              </a:ln>
              <a:solidFill>
                <a:prstClr val="black"/>
              </a:solidFill>
              <a:effectLst/>
              <a:uLnTx/>
              <a:uFillTx/>
              <a:latin typeface="HelveticaNeueLT Std"/>
              <a:ea typeface="+mn-ea"/>
              <a:cs typeface="+mn-cs"/>
            </a:endParaRPr>
          </a:p>
        </p:txBody>
      </p:sp>
      <p:pic>
        <p:nvPicPr>
          <p:cNvPr id="76" name="Picture 75">
            <a:extLst>
              <a:ext uri="{FF2B5EF4-FFF2-40B4-BE49-F238E27FC236}">
                <a16:creationId xmlns:a16="http://schemas.microsoft.com/office/drawing/2014/main" id="{2127CC65-0A11-B9BA-181E-66AE26A10C67}"/>
              </a:ext>
            </a:extLst>
          </p:cNvPr>
          <p:cNvPicPr>
            <a:picLocks noChangeAspect="1"/>
          </p:cNvPicPr>
          <p:nvPr/>
        </p:nvPicPr>
        <p:blipFill>
          <a:blip r:embed="rId12"/>
          <a:stretch>
            <a:fillRect/>
          </a:stretch>
        </p:blipFill>
        <p:spPr>
          <a:xfrm>
            <a:off x="10618156" y="1337482"/>
            <a:ext cx="388582" cy="433576"/>
          </a:xfrm>
          <a:prstGeom prst="rect">
            <a:avLst/>
          </a:prstGeom>
        </p:spPr>
      </p:pic>
      <p:grpSp>
        <p:nvGrpSpPr>
          <p:cNvPr id="77" name="Group 76">
            <a:extLst>
              <a:ext uri="{FF2B5EF4-FFF2-40B4-BE49-F238E27FC236}">
                <a16:creationId xmlns:a16="http://schemas.microsoft.com/office/drawing/2014/main" id="{1C793EC6-A799-F3C2-58E9-57297D644356}"/>
              </a:ext>
            </a:extLst>
          </p:cNvPr>
          <p:cNvGrpSpPr/>
          <p:nvPr/>
        </p:nvGrpSpPr>
        <p:grpSpPr>
          <a:xfrm>
            <a:off x="9929597" y="1981632"/>
            <a:ext cx="1771905" cy="386611"/>
            <a:chOff x="1013974" y="1131590"/>
            <a:chExt cx="1361199" cy="334649"/>
          </a:xfrm>
        </p:grpSpPr>
        <p:sp>
          <p:nvSpPr>
            <p:cNvPr id="78" name="TextBox 77">
              <a:extLst>
                <a:ext uri="{FF2B5EF4-FFF2-40B4-BE49-F238E27FC236}">
                  <a16:creationId xmlns:a16="http://schemas.microsoft.com/office/drawing/2014/main" id="{9F9FC339-5E48-53C6-66B5-6A7CFF635562}"/>
                </a:ext>
              </a:extLst>
            </p:cNvPr>
            <p:cNvSpPr txBox="1"/>
            <p:nvPr/>
          </p:nvSpPr>
          <p:spPr>
            <a:xfrm>
              <a:off x="1013974" y="1205386"/>
              <a:ext cx="1361199"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559, 24m (5G)</a:t>
              </a:r>
            </a:p>
          </p:txBody>
        </p:sp>
        <p:cxnSp>
          <p:nvCxnSpPr>
            <p:cNvPr id="79" name="Straight Arrow Connector 78">
              <a:extLst>
                <a:ext uri="{FF2B5EF4-FFF2-40B4-BE49-F238E27FC236}">
                  <a16:creationId xmlns:a16="http://schemas.microsoft.com/office/drawing/2014/main" id="{92C97608-832F-BA9C-5B97-1D57D855E435}"/>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07B2A50C-D8F5-F514-0443-E01863CC5413}"/>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FED50567-12EE-DD5E-8B12-8A9AFAF7673C}"/>
              </a:ext>
            </a:extLst>
          </p:cNvPr>
          <p:cNvGrpSpPr/>
          <p:nvPr/>
        </p:nvGrpSpPr>
        <p:grpSpPr>
          <a:xfrm>
            <a:off x="8719991" y="2399386"/>
            <a:ext cx="1375745" cy="386610"/>
            <a:chOff x="1256526" y="1131590"/>
            <a:chExt cx="888630" cy="334649"/>
          </a:xfrm>
        </p:grpSpPr>
        <p:sp>
          <p:nvSpPr>
            <p:cNvPr id="82" name="TextBox 81">
              <a:extLst>
                <a:ext uri="{FF2B5EF4-FFF2-40B4-BE49-F238E27FC236}">
                  <a16:creationId xmlns:a16="http://schemas.microsoft.com/office/drawing/2014/main" id="{D9166E9A-64DC-0B0E-94F7-93ED410807B2}"/>
                </a:ext>
              </a:extLst>
            </p:cNvPr>
            <p:cNvSpPr txBox="1"/>
            <p:nvPr/>
          </p:nvSpPr>
          <p:spPr>
            <a:xfrm>
              <a:off x="1256526" y="1205386"/>
              <a:ext cx="888630" cy="159847"/>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49, 24m (4G)</a:t>
              </a:r>
            </a:p>
          </p:txBody>
        </p:sp>
        <p:cxnSp>
          <p:nvCxnSpPr>
            <p:cNvPr id="83" name="Straight Arrow Connector 82">
              <a:extLst>
                <a:ext uri="{FF2B5EF4-FFF2-40B4-BE49-F238E27FC236}">
                  <a16:creationId xmlns:a16="http://schemas.microsoft.com/office/drawing/2014/main" id="{2CEDCE9E-68A3-1AE7-F6FB-2A9CCF749852}"/>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8ABDA83-88A5-2809-8304-D87042ABB8A0}"/>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A3EA176B-1337-A133-7FD7-F2DFD0726033}"/>
              </a:ext>
            </a:extLst>
          </p:cNvPr>
          <p:cNvGrpSpPr/>
          <p:nvPr/>
        </p:nvGrpSpPr>
        <p:grpSpPr>
          <a:xfrm>
            <a:off x="8719991" y="2827679"/>
            <a:ext cx="1375745" cy="386610"/>
            <a:chOff x="1256526" y="1131590"/>
            <a:chExt cx="888630" cy="334649"/>
          </a:xfrm>
        </p:grpSpPr>
        <p:sp>
          <p:nvSpPr>
            <p:cNvPr id="90" name="TextBox 89">
              <a:extLst>
                <a:ext uri="{FF2B5EF4-FFF2-40B4-BE49-F238E27FC236}">
                  <a16:creationId xmlns:a16="http://schemas.microsoft.com/office/drawing/2014/main" id="{1510E124-062B-9C60-DC5B-C279994FD1BC}"/>
                </a:ext>
              </a:extLst>
            </p:cNvPr>
            <p:cNvSpPr txBox="1"/>
            <p:nvPr/>
          </p:nvSpPr>
          <p:spPr>
            <a:xfrm>
              <a:off x="1256526" y="1205386"/>
              <a:ext cx="888630" cy="159847"/>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99, 24m (4G)</a:t>
              </a:r>
            </a:p>
          </p:txBody>
        </p:sp>
        <p:cxnSp>
          <p:nvCxnSpPr>
            <p:cNvPr id="91" name="Straight Arrow Connector 90">
              <a:extLst>
                <a:ext uri="{FF2B5EF4-FFF2-40B4-BE49-F238E27FC236}">
                  <a16:creationId xmlns:a16="http://schemas.microsoft.com/office/drawing/2014/main" id="{B3180486-8A6D-A311-0F93-E2C24F634AE6}"/>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EBFD01C9-92B8-EED8-0CB2-F98679B5743B}"/>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EA9E04F1-A1DB-FE22-B97A-BE4182A0B1F1}"/>
              </a:ext>
            </a:extLst>
          </p:cNvPr>
          <p:cNvSpPr txBox="1"/>
          <p:nvPr/>
        </p:nvSpPr>
        <p:spPr>
          <a:xfrm>
            <a:off x="8726819" y="3333070"/>
            <a:ext cx="1375745" cy="18466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399, 24m (5G)</a:t>
            </a:r>
          </a:p>
        </p:txBody>
      </p:sp>
      <p:grpSp>
        <p:nvGrpSpPr>
          <p:cNvPr id="101" name="Group 100">
            <a:extLst>
              <a:ext uri="{FF2B5EF4-FFF2-40B4-BE49-F238E27FC236}">
                <a16:creationId xmlns:a16="http://schemas.microsoft.com/office/drawing/2014/main" id="{0A9D047A-05D1-4E18-5340-615EDC951F19}"/>
              </a:ext>
            </a:extLst>
          </p:cNvPr>
          <p:cNvGrpSpPr/>
          <p:nvPr/>
        </p:nvGrpSpPr>
        <p:grpSpPr>
          <a:xfrm>
            <a:off x="10142020" y="3228417"/>
            <a:ext cx="1375745" cy="386610"/>
            <a:chOff x="1256526" y="1131590"/>
            <a:chExt cx="888630" cy="334649"/>
          </a:xfrm>
        </p:grpSpPr>
        <p:sp>
          <p:nvSpPr>
            <p:cNvPr id="102" name="TextBox 101">
              <a:extLst>
                <a:ext uri="{FF2B5EF4-FFF2-40B4-BE49-F238E27FC236}">
                  <a16:creationId xmlns:a16="http://schemas.microsoft.com/office/drawing/2014/main" id="{7CEC6010-E7CE-BCC3-B620-E03C7FE57C6D}"/>
                </a:ext>
              </a:extLst>
            </p:cNvPr>
            <p:cNvSpPr txBox="1"/>
            <p:nvPr/>
          </p:nvSpPr>
          <p:spPr>
            <a:xfrm>
              <a:off x="1256526" y="1205386"/>
              <a:ext cx="888630" cy="159847"/>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469, 24m (5G)</a:t>
              </a:r>
            </a:p>
          </p:txBody>
        </p:sp>
        <p:cxnSp>
          <p:nvCxnSpPr>
            <p:cNvPr id="103" name="Straight Arrow Connector 102">
              <a:extLst>
                <a:ext uri="{FF2B5EF4-FFF2-40B4-BE49-F238E27FC236}">
                  <a16:creationId xmlns:a16="http://schemas.microsoft.com/office/drawing/2014/main" id="{C023C556-32C0-8B22-044F-7EB038ED7AC5}"/>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C2F5E34B-8F2F-DEA1-F690-B8FB4FF5D0F0}"/>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105" name="Picture 104">
            <a:extLst>
              <a:ext uri="{FF2B5EF4-FFF2-40B4-BE49-F238E27FC236}">
                <a16:creationId xmlns:a16="http://schemas.microsoft.com/office/drawing/2014/main" id="{0BC071F2-7FA5-6A83-4AB1-521DAF017E9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0216" b="15615"/>
          <a:stretch/>
        </p:blipFill>
        <p:spPr>
          <a:xfrm>
            <a:off x="1294059" y="4157802"/>
            <a:ext cx="843569" cy="446918"/>
          </a:xfrm>
          <a:prstGeom prst="rect">
            <a:avLst/>
          </a:prstGeom>
        </p:spPr>
      </p:pic>
      <p:pic>
        <p:nvPicPr>
          <p:cNvPr id="106" name="Picture 2" descr="Betalning - Tele2">
            <a:extLst>
              <a:ext uri="{FF2B5EF4-FFF2-40B4-BE49-F238E27FC236}">
                <a16:creationId xmlns:a16="http://schemas.microsoft.com/office/drawing/2014/main" id="{8CCD104C-C21A-BFDD-BB98-64613D18B9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08753" y="4213203"/>
            <a:ext cx="627401" cy="345071"/>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9E43B1AA-A1BB-D573-C5B2-6DA2EA128DB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334" t="19640" r="13324" b="12883"/>
          <a:stretch/>
        </p:blipFill>
        <p:spPr>
          <a:xfrm>
            <a:off x="7024463" y="4164866"/>
            <a:ext cx="843569" cy="414871"/>
          </a:xfrm>
          <a:prstGeom prst="rect">
            <a:avLst/>
          </a:prstGeom>
        </p:spPr>
      </p:pic>
      <p:pic>
        <p:nvPicPr>
          <p:cNvPr id="108" name="Picture 107">
            <a:extLst>
              <a:ext uri="{FF2B5EF4-FFF2-40B4-BE49-F238E27FC236}">
                <a16:creationId xmlns:a16="http://schemas.microsoft.com/office/drawing/2014/main" id="{57B92AEB-B70F-6B14-DED3-A031D27B6F97}"/>
              </a:ext>
            </a:extLst>
          </p:cNvPr>
          <p:cNvPicPr>
            <a:picLocks noChangeAspect="1"/>
          </p:cNvPicPr>
          <p:nvPr/>
        </p:nvPicPr>
        <p:blipFill>
          <a:blip r:embed="rId10"/>
          <a:stretch>
            <a:fillRect/>
          </a:stretch>
        </p:blipFill>
        <p:spPr>
          <a:xfrm>
            <a:off x="10151233" y="4187898"/>
            <a:ext cx="303868" cy="386611"/>
          </a:xfrm>
          <a:prstGeom prst="rect">
            <a:avLst/>
          </a:prstGeom>
        </p:spPr>
      </p:pic>
      <p:sp>
        <p:nvSpPr>
          <p:cNvPr id="112" name="TextBox 111">
            <a:extLst>
              <a:ext uri="{FF2B5EF4-FFF2-40B4-BE49-F238E27FC236}">
                <a16:creationId xmlns:a16="http://schemas.microsoft.com/office/drawing/2014/main" id="{68145CF8-2136-531C-09D0-7BCA4EE8BE8A}"/>
              </a:ext>
            </a:extLst>
          </p:cNvPr>
          <p:cNvSpPr txBox="1"/>
          <p:nvPr/>
        </p:nvSpPr>
        <p:spPr>
          <a:xfrm>
            <a:off x="9644012" y="4771180"/>
            <a:ext cx="659155" cy="369332"/>
          </a:xfrm>
          <a:prstGeom prst="rect">
            <a:avLst/>
          </a:prstGeom>
          <a:noFill/>
        </p:spPr>
        <p:txBody>
          <a:bodyPr wrap="none" rtlCol="0">
            <a:spAutoFit/>
          </a:bodyPr>
          <a:lstStyle/>
          <a:p>
            <a:pPr algn="l"/>
            <a:r>
              <a:rPr lang="sv-SE"/>
              <a:t>USP</a:t>
            </a:r>
          </a:p>
        </p:txBody>
      </p:sp>
      <p:sp>
        <p:nvSpPr>
          <p:cNvPr id="113" name="Rectangle: Rounded Corners 112">
            <a:extLst>
              <a:ext uri="{FF2B5EF4-FFF2-40B4-BE49-F238E27FC236}">
                <a16:creationId xmlns:a16="http://schemas.microsoft.com/office/drawing/2014/main" id="{9EA435A6-6292-7591-59C7-2BAE8F33C7E5}"/>
              </a:ext>
            </a:extLst>
          </p:cNvPr>
          <p:cNvSpPr/>
          <p:nvPr/>
        </p:nvSpPr>
        <p:spPr>
          <a:xfrm>
            <a:off x="318514" y="4688650"/>
            <a:ext cx="2794661" cy="830014"/>
          </a:xfrm>
          <a:prstGeom prst="roundRect">
            <a:avLst/>
          </a:prstGeom>
          <a:solidFill>
            <a:srgbClr val="009F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a:t>49kr (69kr) per </a:t>
            </a:r>
            <a:r>
              <a:rPr lang="sv-SE" sz="1400" err="1"/>
              <a:t>card</a:t>
            </a:r>
            <a:r>
              <a:rPr lang="sv-SE" sz="1400"/>
              <a:t> (max 5st)</a:t>
            </a:r>
          </a:p>
          <a:p>
            <a:r>
              <a:rPr lang="sv-SE" sz="1400" err="1"/>
              <a:t>Mirror</a:t>
            </a:r>
            <a:r>
              <a:rPr lang="sv-SE" sz="1400"/>
              <a:t> master </a:t>
            </a:r>
            <a:r>
              <a:rPr lang="sv-SE" sz="1400" err="1"/>
              <a:t>priceplan</a:t>
            </a:r>
            <a:endParaRPr lang="sv-SE" sz="1400"/>
          </a:p>
          <a:p>
            <a:r>
              <a:rPr lang="sv-SE" sz="1400" err="1"/>
              <a:t>Can</a:t>
            </a:r>
            <a:r>
              <a:rPr lang="sv-SE" sz="1400"/>
              <a:t> be </a:t>
            </a:r>
            <a:r>
              <a:rPr lang="sv-SE" sz="1400" err="1"/>
              <a:t>used</a:t>
            </a:r>
            <a:r>
              <a:rPr lang="sv-SE" sz="1400"/>
              <a:t> in EU</a:t>
            </a:r>
          </a:p>
          <a:p>
            <a:endParaRPr lang="sv-SE" sz="1400"/>
          </a:p>
          <a:p>
            <a:pPr algn="ctr"/>
            <a:endParaRPr lang="sv-SE"/>
          </a:p>
        </p:txBody>
      </p:sp>
      <p:sp>
        <p:nvSpPr>
          <p:cNvPr id="114" name="Rectangle: Rounded Corners 113">
            <a:extLst>
              <a:ext uri="{FF2B5EF4-FFF2-40B4-BE49-F238E27FC236}">
                <a16:creationId xmlns:a16="http://schemas.microsoft.com/office/drawing/2014/main" id="{417C1B3C-ACBB-6F41-9FEC-A56B01DFBD18}"/>
              </a:ext>
            </a:extLst>
          </p:cNvPr>
          <p:cNvSpPr/>
          <p:nvPr/>
        </p:nvSpPr>
        <p:spPr>
          <a:xfrm>
            <a:off x="3225124" y="4693370"/>
            <a:ext cx="2794661" cy="830014"/>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a:t>79kr per </a:t>
            </a:r>
            <a:r>
              <a:rPr lang="sv-SE" sz="1400" err="1"/>
              <a:t>card</a:t>
            </a:r>
            <a:r>
              <a:rPr lang="sv-SE" sz="1400"/>
              <a:t> (max 2st)</a:t>
            </a:r>
          </a:p>
          <a:p>
            <a:r>
              <a:rPr lang="sv-SE" sz="1400" err="1"/>
              <a:t>Mirror</a:t>
            </a:r>
            <a:r>
              <a:rPr lang="sv-SE" sz="1400"/>
              <a:t> master </a:t>
            </a:r>
            <a:r>
              <a:rPr lang="sv-SE" sz="1400" err="1"/>
              <a:t>priceplan</a:t>
            </a:r>
            <a:endParaRPr lang="sv-SE" sz="1400"/>
          </a:p>
          <a:p>
            <a:r>
              <a:rPr lang="sv-SE" sz="1400" err="1"/>
              <a:t>Can</a:t>
            </a:r>
            <a:r>
              <a:rPr lang="sv-SE" sz="1400"/>
              <a:t> be </a:t>
            </a:r>
            <a:r>
              <a:rPr lang="sv-SE" sz="1400" err="1"/>
              <a:t>used</a:t>
            </a:r>
            <a:r>
              <a:rPr lang="sv-SE" sz="1400"/>
              <a:t> in EU</a:t>
            </a:r>
          </a:p>
          <a:p>
            <a:endParaRPr lang="sv-SE" sz="1400"/>
          </a:p>
          <a:p>
            <a:pPr algn="ctr"/>
            <a:endParaRPr lang="sv-SE"/>
          </a:p>
        </p:txBody>
      </p:sp>
      <p:sp>
        <p:nvSpPr>
          <p:cNvPr id="115" name="Rectangle: Rounded Corners 114">
            <a:extLst>
              <a:ext uri="{FF2B5EF4-FFF2-40B4-BE49-F238E27FC236}">
                <a16:creationId xmlns:a16="http://schemas.microsoft.com/office/drawing/2014/main" id="{AB8F9B3B-997B-BCF2-0CB3-6EE144AAC526}"/>
              </a:ext>
            </a:extLst>
          </p:cNvPr>
          <p:cNvSpPr/>
          <p:nvPr/>
        </p:nvSpPr>
        <p:spPr>
          <a:xfrm>
            <a:off x="6131734" y="4698091"/>
            <a:ext cx="2811141" cy="820573"/>
          </a:xfrm>
          <a:prstGeom prst="roundRect">
            <a:avLst/>
          </a:prstGeom>
          <a:solidFill>
            <a:srgbClr val="990A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a:t>199kr per </a:t>
            </a:r>
            <a:r>
              <a:rPr lang="sv-SE" sz="1400" err="1"/>
              <a:t>card</a:t>
            </a:r>
            <a:r>
              <a:rPr lang="sv-SE" sz="1400"/>
              <a:t> (no </a:t>
            </a:r>
            <a:r>
              <a:rPr lang="sv-SE" sz="1400" err="1"/>
              <a:t>clear</a:t>
            </a:r>
            <a:r>
              <a:rPr lang="sv-SE" sz="1400"/>
              <a:t> max)</a:t>
            </a:r>
          </a:p>
          <a:p>
            <a:r>
              <a:rPr lang="sv-SE" sz="1400" err="1"/>
              <a:t>Mirror</a:t>
            </a:r>
            <a:r>
              <a:rPr lang="sv-SE" sz="1400"/>
              <a:t> master </a:t>
            </a:r>
            <a:r>
              <a:rPr lang="sv-SE" sz="1400" err="1"/>
              <a:t>priceplan</a:t>
            </a:r>
            <a:endParaRPr lang="sv-SE" sz="1400"/>
          </a:p>
          <a:p>
            <a:r>
              <a:rPr lang="sv-SE" sz="1400" err="1"/>
              <a:t>Can</a:t>
            </a:r>
            <a:r>
              <a:rPr lang="sv-SE" sz="1400"/>
              <a:t> be </a:t>
            </a:r>
            <a:r>
              <a:rPr lang="sv-SE" sz="1400" err="1"/>
              <a:t>used</a:t>
            </a:r>
            <a:r>
              <a:rPr lang="sv-SE" sz="1400"/>
              <a:t> in EU</a:t>
            </a:r>
          </a:p>
          <a:p>
            <a:endParaRPr lang="sv-SE" sz="1400"/>
          </a:p>
          <a:p>
            <a:endParaRPr lang="sv-SE" sz="1400"/>
          </a:p>
          <a:p>
            <a:pPr algn="ctr"/>
            <a:endParaRPr lang="sv-SE"/>
          </a:p>
        </p:txBody>
      </p:sp>
      <p:sp>
        <p:nvSpPr>
          <p:cNvPr id="119" name="Rectangle: Rounded Corners 118">
            <a:extLst>
              <a:ext uri="{FF2B5EF4-FFF2-40B4-BE49-F238E27FC236}">
                <a16:creationId xmlns:a16="http://schemas.microsoft.com/office/drawing/2014/main" id="{A9FD8ACD-91E8-474D-17FC-0DB07B2BE3D3}"/>
              </a:ext>
            </a:extLst>
          </p:cNvPr>
          <p:cNvSpPr/>
          <p:nvPr/>
        </p:nvSpPr>
        <p:spPr>
          <a:xfrm>
            <a:off x="9054824" y="4688650"/>
            <a:ext cx="2653240" cy="82258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a:solidFill>
                  <a:schemeClr val="tx1"/>
                </a:solidFill>
              </a:rPr>
              <a:t>69kr per </a:t>
            </a:r>
            <a:r>
              <a:rPr lang="sv-SE" sz="1400" err="1">
                <a:solidFill>
                  <a:schemeClr val="tx1"/>
                </a:solidFill>
              </a:rPr>
              <a:t>card</a:t>
            </a:r>
            <a:r>
              <a:rPr lang="sv-SE" sz="1400">
                <a:solidFill>
                  <a:schemeClr val="tx1"/>
                </a:solidFill>
              </a:rPr>
              <a:t> (max 1st)</a:t>
            </a:r>
          </a:p>
          <a:p>
            <a:r>
              <a:rPr lang="sv-SE" sz="1400">
                <a:solidFill>
                  <a:schemeClr val="tx1"/>
                </a:solidFill>
              </a:rPr>
              <a:t>100GB, 100 Mbit/s</a:t>
            </a:r>
          </a:p>
          <a:p>
            <a:r>
              <a:rPr lang="sv-SE" sz="1400" err="1">
                <a:solidFill>
                  <a:schemeClr val="tx1"/>
                </a:solidFill>
              </a:rPr>
              <a:t>Can</a:t>
            </a:r>
            <a:r>
              <a:rPr lang="sv-SE" sz="1400">
                <a:solidFill>
                  <a:schemeClr val="tx1"/>
                </a:solidFill>
              </a:rPr>
              <a:t> be </a:t>
            </a:r>
            <a:r>
              <a:rPr lang="sv-SE" sz="1400" err="1">
                <a:solidFill>
                  <a:schemeClr val="tx1"/>
                </a:solidFill>
              </a:rPr>
              <a:t>used</a:t>
            </a:r>
            <a:r>
              <a:rPr lang="sv-SE" sz="1400">
                <a:solidFill>
                  <a:schemeClr val="tx1"/>
                </a:solidFill>
              </a:rPr>
              <a:t> in EU</a:t>
            </a:r>
          </a:p>
          <a:p>
            <a:endParaRPr lang="sv-SE" sz="1400">
              <a:solidFill>
                <a:schemeClr val="tx1"/>
              </a:solidFill>
            </a:endParaRPr>
          </a:p>
          <a:p>
            <a:pPr algn="ctr"/>
            <a:endParaRPr lang="sv-SE">
              <a:solidFill>
                <a:schemeClr val="tx1"/>
              </a:solidFill>
            </a:endParaRPr>
          </a:p>
        </p:txBody>
      </p:sp>
      <p:sp>
        <p:nvSpPr>
          <p:cNvPr id="121" name="Rectangle: Rounded Corners 120">
            <a:extLst>
              <a:ext uri="{FF2B5EF4-FFF2-40B4-BE49-F238E27FC236}">
                <a16:creationId xmlns:a16="http://schemas.microsoft.com/office/drawing/2014/main" id="{5ECFADA3-8353-2E57-FB04-59C919D15679}"/>
              </a:ext>
            </a:extLst>
          </p:cNvPr>
          <p:cNvSpPr/>
          <p:nvPr/>
        </p:nvSpPr>
        <p:spPr>
          <a:xfrm>
            <a:off x="5541059" y="3784006"/>
            <a:ext cx="957452"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cap="small" err="1">
                <a:solidFill>
                  <a:prstClr val="black"/>
                </a:solidFill>
                <a:latin typeface="HelveticaNeueLT Std" panose="020B0604020202020204" pitchFamily="34" charset="0"/>
              </a:rPr>
              <a:t>Datacard</a:t>
            </a:r>
            <a:endParaRPr lang="en-US" sz="1200" b="1" cap="small">
              <a:solidFill>
                <a:prstClr val="black"/>
              </a:solidFill>
              <a:latin typeface="HelveticaNeueLT Std" panose="020B0604020202020204" pitchFamily="34" charset="0"/>
            </a:endParaRPr>
          </a:p>
        </p:txBody>
      </p:sp>
      <p:sp>
        <p:nvSpPr>
          <p:cNvPr id="13" name="Rectangle: Rounded Corners 12">
            <a:extLst>
              <a:ext uri="{FF2B5EF4-FFF2-40B4-BE49-F238E27FC236}">
                <a16:creationId xmlns:a16="http://schemas.microsoft.com/office/drawing/2014/main" id="{37860315-0BB5-2B8A-7A44-905425EC0FBD}"/>
              </a:ext>
            </a:extLst>
          </p:cNvPr>
          <p:cNvSpPr/>
          <p:nvPr/>
        </p:nvSpPr>
        <p:spPr>
          <a:xfrm>
            <a:off x="3766175" y="1628151"/>
            <a:ext cx="614487"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20GB</a:t>
            </a:r>
          </a:p>
        </p:txBody>
      </p:sp>
      <p:grpSp>
        <p:nvGrpSpPr>
          <p:cNvPr id="14" name="Group 13">
            <a:extLst>
              <a:ext uri="{FF2B5EF4-FFF2-40B4-BE49-F238E27FC236}">
                <a16:creationId xmlns:a16="http://schemas.microsoft.com/office/drawing/2014/main" id="{F094A21F-E659-9028-B911-542D23B10DDC}"/>
              </a:ext>
            </a:extLst>
          </p:cNvPr>
          <p:cNvGrpSpPr/>
          <p:nvPr/>
        </p:nvGrpSpPr>
        <p:grpSpPr>
          <a:xfrm>
            <a:off x="3492394" y="3234942"/>
            <a:ext cx="1257321" cy="386611"/>
            <a:chOff x="1225541" y="1131590"/>
            <a:chExt cx="965888" cy="334649"/>
          </a:xfrm>
        </p:grpSpPr>
        <p:sp>
          <p:nvSpPr>
            <p:cNvPr id="15" name="TextBox 14">
              <a:extLst>
                <a:ext uri="{FF2B5EF4-FFF2-40B4-BE49-F238E27FC236}">
                  <a16:creationId xmlns:a16="http://schemas.microsoft.com/office/drawing/2014/main" id="{788748A6-6FE2-FD73-BA39-F7943E516BD8}"/>
                </a:ext>
              </a:extLst>
            </p:cNvPr>
            <p:cNvSpPr txBox="1"/>
            <p:nvPr/>
          </p:nvSpPr>
          <p:spPr>
            <a:xfrm>
              <a:off x="1225541"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169</a:t>
              </a:r>
            </a:p>
          </p:txBody>
        </p:sp>
        <p:cxnSp>
          <p:nvCxnSpPr>
            <p:cNvPr id="16" name="Straight Arrow Connector 15">
              <a:extLst>
                <a:ext uri="{FF2B5EF4-FFF2-40B4-BE49-F238E27FC236}">
                  <a16:creationId xmlns:a16="http://schemas.microsoft.com/office/drawing/2014/main" id="{8FA8D8E6-5945-424D-3B48-B083A065018E}"/>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AC37578-EB62-DBCF-BE5D-46BDCCDE4DE9}"/>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61C29B7-5C51-8B87-5F94-536FC87C104F}"/>
              </a:ext>
            </a:extLst>
          </p:cNvPr>
          <p:cNvGrpSpPr/>
          <p:nvPr/>
        </p:nvGrpSpPr>
        <p:grpSpPr>
          <a:xfrm>
            <a:off x="4202141" y="3230584"/>
            <a:ext cx="1257321" cy="386611"/>
            <a:chOff x="1225541" y="1131590"/>
            <a:chExt cx="965888" cy="334649"/>
          </a:xfrm>
        </p:grpSpPr>
        <p:sp>
          <p:nvSpPr>
            <p:cNvPr id="21" name="TextBox 20">
              <a:extLst>
                <a:ext uri="{FF2B5EF4-FFF2-40B4-BE49-F238E27FC236}">
                  <a16:creationId xmlns:a16="http://schemas.microsoft.com/office/drawing/2014/main" id="{87F5EA14-9028-8B0D-D9D4-92D25C60CD36}"/>
                </a:ext>
              </a:extLst>
            </p:cNvPr>
            <p:cNvSpPr txBox="1"/>
            <p:nvPr/>
          </p:nvSpPr>
          <p:spPr>
            <a:xfrm>
              <a:off x="1225541"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199</a:t>
              </a:r>
            </a:p>
          </p:txBody>
        </p:sp>
        <p:cxnSp>
          <p:nvCxnSpPr>
            <p:cNvPr id="27" name="Straight Arrow Connector 26">
              <a:extLst>
                <a:ext uri="{FF2B5EF4-FFF2-40B4-BE49-F238E27FC236}">
                  <a16:creationId xmlns:a16="http://schemas.microsoft.com/office/drawing/2014/main" id="{82100AC6-9C0A-F7D3-A1A7-BE1ADD87DCB2}"/>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47BECF2-1F7A-4649-8021-F8294A731F1A}"/>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1526A885-4D7D-9B82-8474-848EE0CBEA44}"/>
              </a:ext>
            </a:extLst>
          </p:cNvPr>
          <p:cNvGrpSpPr/>
          <p:nvPr/>
        </p:nvGrpSpPr>
        <p:grpSpPr>
          <a:xfrm>
            <a:off x="5605993" y="3243654"/>
            <a:ext cx="1765388" cy="386611"/>
            <a:chOff x="1226516" y="1131590"/>
            <a:chExt cx="965888" cy="334649"/>
          </a:xfrm>
        </p:grpSpPr>
        <p:sp>
          <p:nvSpPr>
            <p:cNvPr id="32" name="TextBox 31">
              <a:extLst>
                <a:ext uri="{FF2B5EF4-FFF2-40B4-BE49-F238E27FC236}">
                  <a16:creationId xmlns:a16="http://schemas.microsoft.com/office/drawing/2014/main" id="{35E090C2-CBF7-9D8D-1FEE-2A0538BFB83F}"/>
                </a:ext>
              </a:extLst>
            </p:cNvPr>
            <p:cNvSpPr txBox="1"/>
            <p:nvPr/>
          </p:nvSpPr>
          <p:spPr>
            <a:xfrm>
              <a:off x="1226516" y="1205386"/>
              <a:ext cx="965888" cy="159846"/>
            </a:xfrm>
            <a:prstGeom prst="rect">
              <a:avLst/>
            </a:prstGeom>
            <a:noFill/>
          </p:spPr>
          <p:txBody>
            <a:bodyPr wrap="square" lIns="0" tIns="0" rIns="0" bIns="0" rtlCol="0" anchor="t">
              <a:spAutoFit/>
            </a:bodyPr>
            <a:lstStyle/>
            <a:p>
              <a:pPr algn="ctr" defTabSz="1219110"/>
              <a:r>
                <a:rPr lang="en-US" sz="1200">
                  <a:solidFill>
                    <a:prstClr val="white"/>
                  </a:solidFill>
                  <a:latin typeface="HelveticaNeueLT Std" panose="020B0604020202020204" pitchFamily="34" charset="0"/>
                </a:rPr>
                <a:t>249</a:t>
              </a:r>
            </a:p>
          </p:txBody>
        </p:sp>
        <p:cxnSp>
          <p:nvCxnSpPr>
            <p:cNvPr id="33" name="Straight Arrow Connector 32">
              <a:extLst>
                <a:ext uri="{FF2B5EF4-FFF2-40B4-BE49-F238E27FC236}">
                  <a16:creationId xmlns:a16="http://schemas.microsoft.com/office/drawing/2014/main" id="{DC687CD1-5E74-CD5D-6826-F8A9F2E4B5EB}"/>
                </a:ext>
              </a:extLst>
            </p:cNvPr>
            <p:cNvCxnSpPr>
              <a:cxnSpLocks/>
            </p:cNvCxnSpPr>
            <p:nvPr/>
          </p:nvCxnSpPr>
          <p:spPr>
            <a:xfrm>
              <a:off x="1705252" y="1420623"/>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04F08A7-A76E-A500-C365-1B1B3DFB5875}"/>
                </a:ext>
              </a:extLst>
            </p:cNvPr>
            <p:cNvCxnSpPr>
              <a:cxnSpLocks/>
            </p:cNvCxnSpPr>
            <p:nvPr/>
          </p:nvCxnSpPr>
          <p:spPr>
            <a:xfrm flipV="1">
              <a:off x="1705252" y="1131590"/>
              <a:ext cx="0" cy="456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3" name="Rectangle: Rounded Corners 2">
            <a:extLst>
              <a:ext uri="{FF2B5EF4-FFF2-40B4-BE49-F238E27FC236}">
                <a16:creationId xmlns:a16="http://schemas.microsoft.com/office/drawing/2014/main" id="{92527DCE-7CF5-D8BB-E1AB-3E8A2BF7743B}"/>
              </a:ext>
            </a:extLst>
          </p:cNvPr>
          <p:cNvSpPr/>
          <p:nvPr/>
        </p:nvSpPr>
        <p:spPr>
          <a:xfrm>
            <a:off x="6124728" y="1630547"/>
            <a:ext cx="700608" cy="293205"/>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defTabSz="1219110"/>
            <a:r>
              <a:rPr lang="en-US" sz="1200" b="1">
                <a:solidFill>
                  <a:prstClr val="black"/>
                </a:solidFill>
                <a:latin typeface="HelveticaNeueLT Std" panose="020B0604020202020204" pitchFamily="34" charset="0"/>
              </a:rPr>
              <a:t>200GB</a:t>
            </a:r>
          </a:p>
        </p:txBody>
      </p:sp>
      <p:sp>
        <p:nvSpPr>
          <p:cNvPr id="6" name="TextBox 5">
            <a:extLst>
              <a:ext uri="{FF2B5EF4-FFF2-40B4-BE49-F238E27FC236}">
                <a16:creationId xmlns:a16="http://schemas.microsoft.com/office/drawing/2014/main" id="{48EE1342-208D-6DEA-B55F-C044A27E940A}"/>
              </a:ext>
            </a:extLst>
          </p:cNvPr>
          <p:cNvSpPr txBox="1"/>
          <p:nvPr/>
        </p:nvSpPr>
        <p:spPr>
          <a:xfrm>
            <a:off x="1720334" y="2497982"/>
            <a:ext cx="1261884" cy="230832"/>
          </a:xfrm>
          <a:prstGeom prst="rect">
            <a:avLst/>
          </a:prstGeom>
          <a:noFill/>
        </p:spPr>
        <p:txBody>
          <a:bodyPr wrap="none" rtlCol="0">
            <a:spAutoFit/>
          </a:bodyPr>
          <a:lstStyle/>
          <a:p>
            <a:pPr algn="l"/>
            <a:r>
              <a:rPr lang="en-US" sz="900"/>
              <a:t>150 </a:t>
            </a:r>
            <a:r>
              <a:rPr lang="en-US" sz="900" err="1"/>
              <a:t>kr</a:t>
            </a:r>
            <a:r>
              <a:rPr lang="en-US" sz="900"/>
              <a:t> </a:t>
            </a:r>
            <a:r>
              <a:rPr lang="en-US" sz="900" err="1"/>
              <a:t>bindingsrabatt</a:t>
            </a:r>
            <a:endParaRPr lang="en-US" sz="900"/>
          </a:p>
        </p:txBody>
      </p:sp>
    </p:spTree>
    <p:extLst>
      <p:ext uri="{BB962C8B-B14F-4D97-AF65-F5344CB8AC3E}">
        <p14:creationId xmlns:p14="http://schemas.microsoft.com/office/powerpoint/2010/main" val="36132217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738D78E-FBC5-EFA2-7C0C-48D1E2BAB8A3}"/>
              </a:ext>
            </a:extLst>
          </p:cNvPr>
          <p:cNvSpPr>
            <a:spLocks noGrp="1"/>
          </p:cNvSpPr>
          <p:nvPr>
            <p:ph type="subTitle" idx="1"/>
          </p:nvPr>
        </p:nvSpPr>
        <p:spPr>
          <a:xfrm>
            <a:off x="803275" y="2830147"/>
            <a:ext cx="6300788" cy="2952434"/>
          </a:xfrm>
        </p:spPr>
        <p:txBody>
          <a:bodyPr anchor="b">
            <a:normAutofit/>
          </a:bodyPr>
          <a:lstStyle/>
          <a:p>
            <a:pPr marL="234521" indent="-234521"/>
            <a:r>
              <a:rPr lang="sv-SE" b="1"/>
              <a:t>Beställ gratis demo – maila din </a:t>
            </a:r>
            <a:r>
              <a:rPr lang="sv-SE" b="1" err="1"/>
              <a:t>pam</a:t>
            </a:r>
            <a:r>
              <a:rPr lang="sv-SE" b="1"/>
              <a:t> nedan</a:t>
            </a:r>
          </a:p>
          <a:p>
            <a:pPr marL="234521" indent="-234521"/>
            <a:endParaRPr lang="sv-SE" b="1"/>
          </a:p>
          <a:p>
            <a:pPr marL="234521" indent="-234521"/>
            <a:r>
              <a:rPr lang="sv-SE"/>
              <a:t> </a:t>
            </a:r>
          </a:p>
          <a:p>
            <a:pPr marL="380990" indent="-380990">
              <a:buFont typeface="Arial" panose="020B0604020202020204" pitchFamily="34" charset="0"/>
              <a:buChar char="•"/>
            </a:pPr>
            <a:r>
              <a:rPr lang="sv-SE" dirty="0"/>
              <a:t>Namn på säljare </a:t>
            </a:r>
            <a:endParaRPr lang="sv-SE"/>
          </a:p>
          <a:p>
            <a:pPr marL="380990" indent="-380990">
              <a:buFont typeface="Arial" panose="020B0604020202020204" pitchFamily="34" charset="0"/>
              <a:buChar char="•"/>
            </a:pPr>
            <a:r>
              <a:rPr lang="sv-SE" dirty="0"/>
              <a:t>ÅF-namn </a:t>
            </a:r>
            <a:endParaRPr lang="sv-SE"/>
          </a:p>
          <a:p>
            <a:pPr marL="380990" indent="-380990">
              <a:buFont typeface="Arial" panose="020B0604020202020204" pitchFamily="34" charset="0"/>
              <a:buChar char="•"/>
            </a:pPr>
            <a:r>
              <a:rPr lang="sv-SE" dirty="0"/>
              <a:t>ÅF-ID</a:t>
            </a:r>
            <a:endParaRPr lang="sv-SE"/>
          </a:p>
          <a:p>
            <a:pPr marL="380990" indent="-380990">
              <a:buFont typeface="Arial" panose="020B0604020202020204" pitchFamily="34" charset="0"/>
              <a:buChar char="•"/>
            </a:pPr>
            <a:r>
              <a:rPr lang="sv-SE" dirty="0"/>
              <a:t>Mailadress</a:t>
            </a:r>
            <a:endParaRPr lang="sv-SE"/>
          </a:p>
          <a:p>
            <a:pPr marL="380990" indent="-380990">
              <a:buFont typeface="Arial" panose="020B0604020202020204" pitchFamily="34" charset="0"/>
              <a:buChar char="•"/>
            </a:pPr>
            <a:r>
              <a:rPr lang="sv-SE" dirty="0"/>
              <a:t>Simkortsnummer </a:t>
            </a:r>
            <a:endParaRPr lang="sv-SE"/>
          </a:p>
        </p:txBody>
      </p:sp>
      <p:sp>
        <p:nvSpPr>
          <p:cNvPr id="3" name="Title 2">
            <a:extLst>
              <a:ext uri="{FF2B5EF4-FFF2-40B4-BE49-F238E27FC236}">
                <a16:creationId xmlns:a16="http://schemas.microsoft.com/office/drawing/2014/main" id="{E3584DF7-C78E-43B2-E21B-0D796328D7EF}"/>
              </a:ext>
            </a:extLst>
          </p:cNvPr>
          <p:cNvSpPr>
            <a:spLocks noGrp="1"/>
          </p:cNvSpPr>
          <p:nvPr>
            <p:ph type="title"/>
          </p:nvPr>
        </p:nvSpPr>
        <p:spPr>
          <a:xfrm>
            <a:off x="803275" y="1089024"/>
            <a:ext cx="10872784" cy="1547813"/>
          </a:xfrm>
        </p:spPr>
        <p:txBody>
          <a:bodyPr anchor="t">
            <a:normAutofit/>
          </a:bodyPr>
          <a:lstStyle/>
          <a:p>
            <a:r>
              <a:rPr lang="sv-SE"/>
              <a:t>Testa oss! </a:t>
            </a:r>
          </a:p>
        </p:txBody>
      </p:sp>
      <p:sp>
        <p:nvSpPr>
          <p:cNvPr id="8" name="Date Placeholder 3">
            <a:extLst>
              <a:ext uri="{FF2B5EF4-FFF2-40B4-BE49-F238E27FC236}">
                <a16:creationId xmlns:a16="http://schemas.microsoft.com/office/drawing/2014/main" id="{763E5138-FD1E-C685-41D0-41E8D27701FF}"/>
              </a:ext>
            </a:extLst>
          </p:cNvPr>
          <p:cNvSpPr>
            <a:spLocks noGrp="1"/>
          </p:cNvSpPr>
          <p:nvPr>
            <p:ph type="dt" sz="half" idx="10"/>
          </p:nvPr>
        </p:nvSpPr>
        <p:spPr>
          <a:xfrm>
            <a:off x="803275" y="5782581"/>
            <a:ext cx="2743200" cy="383269"/>
          </a:xfrm>
        </p:spPr>
        <p:txBody>
          <a:bodyPr/>
          <a:lstStyle/>
          <a:p>
            <a:pPr>
              <a:spcAft>
                <a:spcPts val="600"/>
              </a:spcAft>
            </a:pPr>
            <a:fld id="{6B1948D3-2E4F-41CC-9D99-59AAFE878F3F}" type="datetime1">
              <a:rPr lang="sv-SE" smtClean="0"/>
              <a:pPr>
                <a:spcAft>
                  <a:spcPts val="600"/>
                </a:spcAft>
              </a:pPr>
              <a:t>2024-08-20</a:t>
            </a:fld>
            <a:endParaRPr lang="sv-SE"/>
          </a:p>
        </p:txBody>
      </p:sp>
    </p:spTree>
    <p:extLst>
      <p:ext uri="{BB962C8B-B14F-4D97-AF65-F5344CB8AC3E}">
        <p14:creationId xmlns:p14="http://schemas.microsoft.com/office/powerpoint/2010/main" val="3815248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C5456368-5C48-57F2-312A-4874B778F7B0}"/>
              </a:ext>
            </a:extLst>
          </p:cNvPr>
          <p:cNvSpPr txBox="1">
            <a:spLocks/>
          </p:cNvSpPr>
          <p:nvPr/>
        </p:nvSpPr>
        <p:spPr>
          <a:xfrm>
            <a:off x="803275" y="2830147"/>
            <a:ext cx="6300788" cy="2952434"/>
          </a:xfrm>
          <a:prstGeom prst="rect">
            <a:avLst/>
          </a:prstGeom>
        </p:spPr>
        <p:txBody>
          <a:bodyPr spcFirstLastPara="1" vert="horz" lIns="0" tIns="0" rIns="0" bIns="0" rtlCol="0" anchor="b" anchorCtr="0">
            <a:normAutofit/>
          </a:bodyPr>
          <a:lstStyle>
            <a:lvl1pPr lvl="0" algn="l" defTabSz="914400" rtl="0" eaLnBrk="1" latinLnBrk="0" hangingPunct="1">
              <a:lnSpc>
                <a:spcPct val="90000"/>
              </a:lnSpc>
              <a:spcBef>
                <a:spcPts val="0"/>
              </a:spcBef>
              <a:spcAft>
                <a:spcPts val="0"/>
              </a:spcAft>
              <a:buClr>
                <a:schemeClr val="lt1"/>
              </a:buClr>
              <a:buSzPts val="4000"/>
              <a:buFont typeface="Helvetica Neue"/>
              <a:buNone/>
              <a:defRPr sz="4000" b="1" kern="1200">
                <a:solidFill>
                  <a:schemeClr val="lt1"/>
                </a:solidFill>
                <a:latin typeface="+mj-lt"/>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a:spcBef>
                <a:spcPts val="300"/>
              </a:spcBef>
              <a:spcAft>
                <a:spcPts val="300"/>
              </a:spcAft>
              <a:buClr>
                <a:schemeClr val="accent1"/>
              </a:buClr>
              <a:buSzPct val="105000"/>
            </a:pPr>
            <a:r>
              <a:rPr lang="sv-SE" sz="2000" kern="1200">
                <a:solidFill>
                  <a:schemeClr val="bg1"/>
                </a:solidFill>
                <a:latin typeface="+mn-lt"/>
                <a:ea typeface="+mn-ea"/>
                <a:cs typeface="+mn-cs"/>
              </a:rPr>
              <a:t>Stort tack &amp; lycka till!</a:t>
            </a:r>
            <a:br>
              <a:rPr lang="sv-SE" sz="2000" kern="1200">
                <a:solidFill>
                  <a:schemeClr val="bg1"/>
                </a:solidFill>
                <a:latin typeface="+mn-lt"/>
                <a:ea typeface="+mn-ea"/>
                <a:cs typeface="+mn-cs"/>
              </a:rPr>
            </a:br>
            <a:br>
              <a:rPr lang="sv-SE" sz="2000" kern="1200">
                <a:solidFill>
                  <a:schemeClr val="bg1"/>
                </a:solidFill>
                <a:latin typeface="+mn-lt"/>
                <a:ea typeface="+mn-ea"/>
                <a:cs typeface="+mn-cs"/>
              </a:rPr>
            </a:br>
            <a:endParaRPr lang="sv-SE" sz="2000" kern="1200">
              <a:solidFill>
                <a:schemeClr val="bg1"/>
              </a:solidFill>
              <a:latin typeface="+mn-lt"/>
              <a:ea typeface="+mn-ea"/>
              <a:cs typeface="+mn-cs"/>
            </a:endParaRPr>
          </a:p>
        </p:txBody>
      </p:sp>
      <p:sp>
        <p:nvSpPr>
          <p:cNvPr id="8" name="Title 7">
            <a:extLst>
              <a:ext uri="{FF2B5EF4-FFF2-40B4-BE49-F238E27FC236}">
                <a16:creationId xmlns:a16="http://schemas.microsoft.com/office/drawing/2014/main" id="{83530AAA-ABEA-4D6E-8B8C-2AACC86E68E1}"/>
              </a:ext>
            </a:extLst>
          </p:cNvPr>
          <p:cNvSpPr>
            <a:spLocks noGrp="1"/>
          </p:cNvSpPr>
          <p:nvPr>
            <p:ph type="title"/>
          </p:nvPr>
        </p:nvSpPr>
        <p:spPr>
          <a:xfrm>
            <a:off x="803275" y="1089024"/>
            <a:ext cx="10872784" cy="1547813"/>
          </a:xfrm>
        </p:spPr>
        <p:txBody>
          <a:bodyPr vert="horz" lIns="0" tIns="0" rIns="0" bIns="0" rtlCol="0" anchor="t">
            <a:normAutofit/>
          </a:bodyPr>
          <a:lstStyle/>
          <a:p>
            <a:r>
              <a:rPr lang="sv-SE" sz="2200" b="1" kern="1200">
                <a:latin typeface="+mj-lt"/>
                <a:ea typeface="+mj-ea"/>
                <a:cs typeface="+mj-cs"/>
              </a:rPr>
              <a:t>Frågor?</a:t>
            </a:r>
            <a:br>
              <a:rPr lang="sv-SE" sz="2200" b="1" kern="1200">
                <a:latin typeface="+mj-lt"/>
                <a:ea typeface="+mj-ea"/>
                <a:cs typeface="+mj-cs"/>
              </a:rPr>
            </a:br>
            <a:br>
              <a:rPr lang="sv-SE" sz="2200" b="1" kern="1200">
                <a:latin typeface="+mj-lt"/>
                <a:ea typeface="+mj-ea"/>
                <a:cs typeface="+mj-cs"/>
              </a:rPr>
            </a:br>
            <a:br>
              <a:rPr lang="sv-SE" sz="2200" b="1" kern="1200">
                <a:latin typeface="+mj-lt"/>
                <a:ea typeface="+mj-ea"/>
                <a:cs typeface="+mj-cs"/>
              </a:rPr>
            </a:br>
            <a:br>
              <a:rPr lang="sv-SE" sz="2200" b="1" kern="1200">
                <a:latin typeface="+mj-lt"/>
                <a:ea typeface="+mj-ea"/>
                <a:cs typeface="+mj-cs"/>
              </a:rPr>
            </a:br>
            <a:endParaRPr lang="sv-SE" sz="2200" b="1" kern="1200">
              <a:latin typeface="+mj-lt"/>
              <a:ea typeface="+mj-ea"/>
              <a:cs typeface="+mj-cs"/>
            </a:endParaRPr>
          </a:p>
        </p:txBody>
      </p:sp>
      <p:sp>
        <p:nvSpPr>
          <p:cNvPr id="13" name="Date Placeholder 3">
            <a:extLst>
              <a:ext uri="{FF2B5EF4-FFF2-40B4-BE49-F238E27FC236}">
                <a16:creationId xmlns:a16="http://schemas.microsoft.com/office/drawing/2014/main" id="{4DC58723-7C7B-C6CA-30C2-390E818FCE55}"/>
              </a:ext>
            </a:extLst>
          </p:cNvPr>
          <p:cNvSpPr>
            <a:spLocks noGrp="1"/>
          </p:cNvSpPr>
          <p:nvPr>
            <p:ph type="dt" sz="half" idx="10"/>
          </p:nvPr>
        </p:nvSpPr>
        <p:spPr>
          <a:xfrm>
            <a:off x="803275" y="5782581"/>
            <a:ext cx="2743200" cy="383269"/>
          </a:xfrm>
        </p:spPr>
        <p:txBody>
          <a:bodyPr/>
          <a:lstStyle/>
          <a:p>
            <a:pPr>
              <a:spcAft>
                <a:spcPts val="600"/>
              </a:spcAft>
            </a:pPr>
            <a:fld id="{6B1948D3-2E4F-41CC-9D99-59AAFE878F3F}" type="datetime1">
              <a:rPr lang="sv-SE" smtClean="0"/>
              <a:pPr>
                <a:spcAft>
                  <a:spcPts val="600"/>
                </a:spcAft>
              </a:pPr>
              <a:t>2024-08-20</a:t>
            </a:fld>
            <a:endParaRPr lang="sv-SE"/>
          </a:p>
        </p:txBody>
      </p:sp>
    </p:spTree>
    <p:extLst>
      <p:ext uri="{BB962C8B-B14F-4D97-AF65-F5344CB8AC3E}">
        <p14:creationId xmlns:p14="http://schemas.microsoft.com/office/powerpoint/2010/main" val="3714004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0F19C4F1-3DAA-4145-9C13-89D3CC145099}"/>
              </a:ext>
            </a:extLst>
          </p:cNvPr>
          <p:cNvSpPr>
            <a:spLocks noGrp="1"/>
          </p:cNvSpPr>
          <p:nvPr>
            <p:ph idx="1"/>
          </p:nvPr>
        </p:nvSpPr>
        <p:spPr>
          <a:xfrm>
            <a:off x="810486" y="2205037"/>
            <a:ext cx="4112970" cy="3971925"/>
          </a:xfrm>
        </p:spPr>
        <p:txBody>
          <a:bodyPr/>
          <a:lstStyle/>
          <a:p>
            <a:r>
              <a:rPr lang="sv-SE" b="1" dirty="0"/>
              <a:t>Voiceportfölj</a:t>
            </a:r>
          </a:p>
          <a:p>
            <a:pPr lvl="1"/>
            <a:r>
              <a:rPr lang="sv-SE" dirty="0"/>
              <a:t>Icke ramavtalsportföljen</a:t>
            </a:r>
          </a:p>
          <a:p>
            <a:pPr lvl="1"/>
            <a:r>
              <a:rPr lang="sv-SE" dirty="0"/>
              <a:t>Bakgrund och portfölj</a:t>
            </a:r>
          </a:p>
          <a:p>
            <a:pPr lvl="1"/>
            <a:r>
              <a:rPr lang="sv-SE" dirty="0"/>
              <a:t>Generella säljregler och rabatter</a:t>
            </a:r>
          </a:p>
          <a:p>
            <a:pPr lvl="1"/>
            <a:r>
              <a:rPr lang="sv-SE" dirty="0"/>
              <a:t>Affärsregler (mer detaljerade)</a:t>
            </a:r>
          </a:p>
          <a:p>
            <a:pPr lvl="0"/>
            <a:r>
              <a:rPr lang="sv-SE" dirty="0"/>
              <a:t>Ramavtalsportföljen</a:t>
            </a:r>
          </a:p>
          <a:p>
            <a:pPr lvl="1"/>
            <a:r>
              <a:rPr lang="sv-SE" dirty="0"/>
              <a:t>Förändringarna</a:t>
            </a:r>
          </a:p>
          <a:p>
            <a:pPr lvl="1"/>
            <a:r>
              <a:rPr lang="sv-SE" dirty="0"/>
              <a:t>Kommunikation till kund</a:t>
            </a:r>
          </a:p>
          <a:p>
            <a:pPr lvl="0">
              <a:buFont typeface="Arial" panose="020B0604020202020204" pitchFamily="34" charset="0"/>
              <a:buChar char="•"/>
            </a:pPr>
            <a:r>
              <a:rPr lang="sv-SE" b="1" dirty="0"/>
              <a:t>Bredbandsportfölje</a:t>
            </a:r>
          </a:p>
          <a:p>
            <a:pPr lvl="1"/>
            <a:r>
              <a:rPr lang="sv-SE" dirty="0"/>
              <a:t>Icke ramavtalsportföljen</a:t>
            </a:r>
          </a:p>
          <a:p>
            <a:pPr lvl="1"/>
            <a:r>
              <a:rPr lang="sv-SE" dirty="0"/>
              <a:t>Bakgrund och portfölj</a:t>
            </a:r>
          </a:p>
          <a:p>
            <a:pPr lvl="1"/>
            <a:r>
              <a:rPr lang="sv-SE" dirty="0"/>
              <a:t>Generella säljregler och rabatter</a:t>
            </a:r>
          </a:p>
          <a:p>
            <a:pPr lvl="1"/>
            <a:endParaRPr lang="sv-SE" dirty="0"/>
          </a:p>
          <a:p>
            <a:endParaRPr lang="sv-SE" b="1" dirty="0"/>
          </a:p>
        </p:txBody>
      </p:sp>
      <p:sp>
        <p:nvSpPr>
          <p:cNvPr id="4" name="Rubrik 3">
            <a:extLst>
              <a:ext uri="{FF2B5EF4-FFF2-40B4-BE49-F238E27FC236}">
                <a16:creationId xmlns:a16="http://schemas.microsoft.com/office/drawing/2014/main" id="{CFF797F1-DAE1-46E7-963B-AFDC439FA135}"/>
              </a:ext>
            </a:extLst>
          </p:cNvPr>
          <p:cNvSpPr>
            <a:spLocks noGrp="1"/>
          </p:cNvSpPr>
          <p:nvPr>
            <p:ph type="title"/>
          </p:nvPr>
        </p:nvSpPr>
        <p:spPr/>
        <p:txBody>
          <a:bodyPr/>
          <a:lstStyle/>
          <a:p>
            <a:r>
              <a:rPr lang="sv-SE" dirty="0"/>
              <a:t>Agenda</a:t>
            </a:r>
          </a:p>
        </p:txBody>
      </p:sp>
      <p:pic>
        <p:nvPicPr>
          <p:cNvPr id="2" name="Picture Placeholder 11" descr="A person sitting in a chair using a computer&#10;&#10;Description automatically generated">
            <a:extLst>
              <a:ext uri="{FF2B5EF4-FFF2-40B4-BE49-F238E27FC236}">
                <a16:creationId xmlns:a16="http://schemas.microsoft.com/office/drawing/2014/main" id="{DBAB7A61-4F97-744F-65E6-A40E7E19180D}"/>
              </a:ext>
            </a:extLst>
          </p:cNvPr>
          <p:cNvPicPr>
            <a:picLocks noChangeAspect="1"/>
          </p:cNvPicPr>
          <p:nvPr/>
        </p:nvPicPr>
        <p:blipFill>
          <a:blip r:embed="rId3"/>
          <a:srcRect t="17835" b="17835"/>
          <a:stretch>
            <a:fillRect/>
          </a:stretch>
        </p:blipFill>
        <p:spPr>
          <a:xfrm>
            <a:off x="5087941" y="6"/>
            <a:ext cx="7104059" cy="6857994"/>
          </a:xfrm>
          <a:prstGeom prst="rect">
            <a:avLst/>
          </a:prstGeom>
          <a:solidFill>
            <a:srgbClr val="F2F2F2"/>
          </a:solidFill>
        </p:spPr>
      </p:pic>
    </p:spTree>
    <p:extLst>
      <p:ext uri="{BB962C8B-B14F-4D97-AF65-F5344CB8AC3E}">
        <p14:creationId xmlns:p14="http://schemas.microsoft.com/office/powerpoint/2010/main" val="3993557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E666E22-0B9E-45EB-92D4-E054D0C2B73F}"/>
              </a:ext>
            </a:extLst>
          </p:cNvPr>
          <p:cNvGraphicFramePr/>
          <p:nvPr>
            <p:extLst>
              <p:ext uri="{D42A27DB-BD31-4B8C-83A1-F6EECF244321}">
                <p14:modId xmlns:p14="http://schemas.microsoft.com/office/powerpoint/2010/main" val="2054319273"/>
              </p:ext>
            </p:extLst>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BE666E22-0B9E-45EB-92D4-E054D0C2B73F}"/>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3">
            <a:extLst>
              <a:ext uri="{FF2B5EF4-FFF2-40B4-BE49-F238E27FC236}">
                <a16:creationId xmlns:a16="http://schemas.microsoft.com/office/drawing/2014/main" id="{9D64EB12-A192-344B-4F2D-B284AE624546}"/>
              </a:ext>
            </a:extLst>
          </p:cNvPr>
          <p:cNvSpPr txBox="1">
            <a:spLocks noGrp="1"/>
          </p:cNvSpPr>
          <p:nvPr>
            <p:ph type="title"/>
          </p:nvPr>
        </p:nvSpPr>
        <p:spPr>
          <a:xfrm>
            <a:off x="838203" y="1412876"/>
            <a:ext cx="10515600" cy="2160590"/>
          </a:xfrm>
          <a:prstGeom prst="rect">
            <a:avLst/>
          </a:prstGeom>
          <a:noFill/>
          <a:ln>
            <a:noFill/>
          </a:ln>
        </p:spPr>
        <p:txBody>
          <a:bodyPr vert="horz" wrap="square" lIns="0" tIns="0" rIns="0" bIns="0" anchor="b" anchorCtr="1" compatLnSpc="1">
            <a:noAutofit/>
          </a:bodyPr>
          <a:lstStyle/>
          <a:p>
            <a:pPr lvl="0" algn="ctr"/>
            <a:r>
              <a:rPr lang="sv-SE" sz="4000" dirty="0">
                <a:solidFill>
                  <a:srgbClr val="FFFFFF"/>
                </a:solidFill>
              </a:rPr>
              <a:t>Mikroportfölj 0-9</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E0E46-26D0-BBBB-789B-4D5AD9A8FB7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1BA3F1-D6D3-E72F-6F63-6CD4FEBB84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think-cell data - do not delete" hidden="1">
                        <a:extLst>
                          <a:ext uri="{FF2B5EF4-FFF2-40B4-BE49-F238E27FC236}">
                            <a16:creationId xmlns:a16="http://schemas.microsoft.com/office/drawing/2014/main" id="{551BA3F1-D6D3-E72F-6F63-6CD4FEBB8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80293A-B053-54A0-8E2D-D781106EEBEC}"/>
              </a:ext>
            </a:extLst>
          </p:cNvPr>
          <p:cNvSpPr>
            <a:spLocks noGrp="1"/>
          </p:cNvSpPr>
          <p:nvPr>
            <p:ph type="title"/>
          </p:nvPr>
        </p:nvSpPr>
        <p:spPr>
          <a:xfrm>
            <a:off x="504512" y="1070785"/>
            <a:ext cx="12432890" cy="900112"/>
          </a:xfrm>
        </p:spPr>
        <p:txBody>
          <a:bodyPr vert="horz"/>
          <a:lstStyle/>
          <a:p>
            <a:r>
              <a:rPr lang="sv-SE"/>
              <a:t>Det blir mindre förändringar i den ”nya” standardportföljen</a:t>
            </a:r>
          </a:p>
        </p:txBody>
      </p:sp>
      <p:sp>
        <p:nvSpPr>
          <p:cNvPr id="20" name="TextBox 19">
            <a:extLst>
              <a:ext uri="{FF2B5EF4-FFF2-40B4-BE49-F238E27FC236}">
                <a16:creationId xmlns:a16="http://schemas.microsoft.com/office/drawing/2014/main" id="{8A1B5BD3-E435-4232-EC33-A7372C4F9FF4}"/>
              </a:ext>
            </a:extLst>
          </p:cNvPr>
          <p:cNvSpPr txBox="1"/>
          <p:nvPr/>
        </p:nvSpPr>
        <p:spPr>
          <a:xfrm>
            <a:off x="59367" y="2359164"/>
            <a:ext cx="1683819" cy="307777"/>
          </a:xfrm>
          <a:prstGeom prst="rect">
            <a:avLst/>
          </a:prstGeom>
          <a:noFill/>
        </p:spPr>
        <p:txBody>
          <a:bodyPr wrap="square" rtlCol="0">
            <a:spAutoFit/>
          </a:bodyPr>
          <a:lstStyle/>
          <a:p>
            <a:pPr algn="l"/>
            <a:r>
              <a:rPr lang="sv-SE" sz="1400">
                <a:solidFill>
                  <a:sysClr val="windowText" lastClr="000000"/>
                </a:solidFill>
              </a:rPr>
              <a:t>Befintlig portfölj</a:t>
            </a:r>
          </a:p>
        </p:txBody>
      </p:sp>
      <p:sp>
        <p:nvSpPr>
          <p:cNvPr id="3" name="Rectangle 2">
            <a:extLst>
              <a:ext uri="{FF2B5EF4-FFF2-40B4-BE49-F238E27FC236}">
                <a16:creationId xmlns:a16="http://schemas.microsoft.com/office/drawing/2014/main" id="{0F499F93-3CFB-6DCD-B944-7F3866C9AAB4}"/>
              </a:ext>
            </a:extLst>
          </p:cNvPr>
          <p:cNvSpPr/>
          <p:nvPr/>
        </p:nvSpPr>
        <p:spPr>
          <a:xfrm>
            <a:off x="2031414" y="2073521"/>
            <a:ext cx="1440000" cy="4423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Obegränsad Max </a:t>
            </a:r>
            <a:r>
              <a:rPr lang="sv-SE" sz="1000">
                <a:solidFill>
                  <a:schemeClr val="tx1"/>
                </a:solidFill>
              </a:rPr>
              <a:t>349kr</a:t>
            </a:r>
          </a:p>
          <a:p>
            <a:pPr algn="ctr"/>
            <a:r>
              <a:rPr lang="sv-SE" sz="1000">
                <a:solidFill>
                  <a:schemeClr val="tx1"/>
                </a:solidFill>
              </a:rPr>
              <a:t>Inkl. Datakort</a:t>
            </a:r>
          </a:p>
        </p:txBody>
      </p:sp>
      <p:pic>
        <p:nvPicPr>
          <p:cNvPr id="6" name="Graphic 5" descr="Earth globe: Africa and Europe with solid fill">
            <a:extLst>
              <a:ext uri="{FF2B5EF4-FFF2-40B4-BE49-F238E27FC236}">
                <a16:creationId xmlns:a16="http://schemas.microsoft.com/office/drawing/2014/main" id="{467B0DDB-51EC-A714-63F7-8173869F2B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8067" y="1977528"/>
            <a:ext cx="291682" cy="252647"/>
          </a:xfrm>
          <a:prstGeom prst="rect">
            <a:avLst/>
          </a:prstGeom>
        </p:spPr>
      </p:pic>
      <p:sp>
        <p:nvSpPr>
          <p:cNvPr id="7" name="Rectangle 6">
            <a:extLst>
              <a:ext uri="{FF2B5EF4-FFF2-40B4-BE49-F238E27FC236}">
                <a16:creationId xmlns:a16="http://schemas.microsoft.com/office/drawing/2014/main" id="{89C8D5B7-7D98-A7BD-EE1D-E7E6A6BF8C21}"/>
              </a:ext>
            </a:extLst>
          </p:cNvPr>
          <p:cNvSpPr/>
          <p:nvPr/>
        </p:nvSpPr>
        <p:spPr>
          <a:xfrm>
            <a:off x="2031414" y="2790911"/>
            <a:ext cx="1440000" cy="4423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Kollega </a:t>
            </a:r>
            <a:r>
              <a:rPr lang="sv-SE" sz="1000">
                <a:solidFill>
                  <a:schemeClr val="tx1"/>
                </a:solidFill>
              </a:rPr>
              <a:t>199kr</a:t>
            </a:r>
          </a:p>
        </p:txBody>
      </p:sp>
      <p:pic>
        <p:nvPicPr>
          <p:cNvPr id="8" name="Graphic 7" descr="Earth globe: Africa and Europe with solid fill">
            <a:extLst>
              <a:ext uri="{FF2B5EF4-FFF2-40B4-BE49-F238E27FC236}">
                <a16:creationId xmlns:a16="http://schemas.microsoft.com/office/drawing/2014/main" id="{AEFE525C-8C22-B65B-BE8A-4A52625B40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8067" y="2679146"/>
            <a:ext cx="291682" cy="252647"/>
          </a:xfrm>
          <a:prstGeom prst="rect">
            <a:avLst/>
          </a:prstGeom>
        </p:spPr>
      </p:pic>
      <p:cxnSp>
        <p:nvCxnSpPr>
          <p:cNvPr id="27" name="Straight Connector 31">
            <a:extLst>
              <a:ext uri="{FF2B5EF4-FFF2-40B4-BE49-F238E27FC236}">
                <a16:creationId xmlns:a16="http://schemas.microsoft.com/office/drawing/2014/main" id="{F78D8951-9822-095A-5448-18616ED77424}"/>
              </a:ext>
            </a:extLst>
          </p:cNvPr>
          <p:cNvCxnSpPr>
            <a:cxnSpLocks/>
            <a:stCxn id="3" idx="1"/>
            <a:endCxn id="7" idx="1"/>
          </p:cNvCxnSpPr>
          <p:nvPr/>
        </p:nvCxnSpPr>
        <p:spPr>
          <a:xfrm rot="10800000" flipV="1">
            <a:off x="2031414" y="2294714"/>
            <a:ext cx="12700" cy="717390"/>
          </a:xfrm>
          <a:prstGeom prst="bentConnector3">
            <a:avLst>
              <a:gd name="adj1" fmla="val 1800000"/>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9F1E100-38A3-D385-2231-CD67AD05750E}"/>
              </a:ext>
            </a:extLst>
          </p:cNvPr>
          <p:cNvSpPr txBox="1"/>
          <p:nvPr/>
        </p:nvSpPr>
        <p:spPr>
          <a:xfrm>
            <a:off x="1528238" y="2030580"/>
            <a:ext cx="181575" cy="253916"/>
          </a:xfrm>
          <a:prstGeom prst="rect">
            <a:avLst/>
          </a:prstGeom>
          <a:noFill/>
        </p:spPr>
        <p:txBody>
          <a:bodyPr wrap="square" rtlCol="0">
            <a:spAutoFit/>
          </a:bodyPr>
          <a:lstStyle/>
          <a:p>
            <a:pPr algn="l"/>
            <a:r>
              <a:rPr lang="sv-SE" sz="1050" b="1">
                <a:solidFill>
                  <a:sysClr val="windowText" lastClr="000000"/>
                </a:solidFill>
              </a:rPr>
              <a:t>1</a:t>
            </a:r>
          </a:p>
        </p:txBody>
      </p:sp>
      <p:sp>
        <p:nvSpPr>
          <p:cNvPr id="29" name="TextBox 28">
            <a:extLst>
              <a:ext uri="{FF2B5EF4-FFF2-40B4-BE49-F238E27FC236}">
                <a16:creationId xmlns:a16="http://schemas.microsoft.com/office/drawing/2014/main" id="{CE2545FA-9B3F-0976-2FDD-7CFDBD84D553}"/>
              </a:ext>
            </a:extLst>
          </p:cNvPr>
          <p:cNvSpPr txBox="1"/>
          <p:nvPr/>
        </p:nvSpPr>
        <p:spPr>
          <a:xfrm>
            <a:off x="1508361" y="2914824"/>
            <a:ext cx="181575" cy="253916"/>
          </a:xfrm>
          <a:prstGeom prst="rect">
            <a:avLst/>
          </a:prstGeom>
          <a:noFill/>
        </p:spPr>
        <p:txBody>
          <a:bodyPr wrap="square" rtlCol="0">
            <a:spAutoFit/>
          </a:bodyPr>
          <a:lstStyle/>
          <a:p>
            <a:pPr algn="l"/>
            <a:r>
              <a:rPr lang="sv-SE" sz="1050" b="1">
                <a:solidFill>
                  <a:sysClr val="windowText" lastClr="000000"/>
                </a:solidFill>
              </a:rPr>
              <a:t>5</a:t>
            </a:r>
          </a:p>
        </p:txBody>
      </p:sp>
      <p:sp>
        <p:nvSpPr>
          <p:cNvPr id="9" name="Rectangle 8">
            <a:extLst>
              <a:ext uri="{FF2B5EF4-FFF2-40B4-BE49-F238E27FC236}">
                <a16:creationId xmlns:a16="http://schemas.microsoft.com/office/drawing/2014/main" id="{3B463292-0095-F07A-84F1-7417DE95AF6D}"/>
              </a:ext>
            </a:extLst>
          </p:cNvPr>
          <p:cNvSpPr/>
          <p:nvPr/>
        </p:nvSpPr>
        <p:spPr>
          <a:xfrm>
            <a:off x="5479986" y="2087179"/>
            <a:ext cx="1440000" cy="43796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15GB </a:t>
            </a:r>
            <a:r>
              <a:rPr lang="sv-SE" sz="1000">
                <a:solidFill>
                  <a:schemeClr val="tx1"/>
                </a:solidFill>
              </a:rPr>
              <a:t>199kr</a:t>
            </a:r>
          </a:p>
          <a:p>
            <a:pPr algn="ctr"/>
            <a:r>
              <a:rPr lang="sv-SE" sz="1000">
                <a:solidFill>
                  <a:schemeClr val="tx1"/>
                </a:solidFill>
              </a:rPr>
              <a:t>100Mbit/s</a:t>
            </a:r>
          </a:p>
        </p:txBody>
      </p:sp>
      <p:sp>
        <p:nvSpPr>
          <p:cNvPr id="18" name="Rectangle 17">
            <a:extLst>
              <a:ext uri="{FF2B5EF4-FFF2-40B4-BE49-F238E27FC236}">
                <a16:creationId xmlns:a16="http://schemas.microsoft.com/office/drawing/2014/main" id="{CEC76844-C1DF-E21A-BB0C-58BFF3E05D73}"/>
              </a:ext>
            </a:extLst>
          </p:cNvPr>
          <p:cNvSpPr/>
          <p:nvPr/>
        </p:nvSpPr>
        <p:spPr>
          <a:xfrm>
            <a:off x="8928560" y="2087179"/>
            <a:ext cx="1440000" cy="43796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1GB 9</a:t>
            </a:r>
            <a:r>
              <a:rPr lang="sv-SE" sz="1000">
                <a:solidFill>
                  <a:schemeClr val="tx1"/>
                </a:solidFill>
              </a:rPr>
              <a:t>9kr</a:t>
            </a:r>
          </a:p>
          <a:p>
            <a:pPr algn="ctr"/>
            <a:r>
              <a:rPr lang="sv-SE" sz="1000">
                <a:solidFill>
                  <a:schemeClr val="tx1"/>
                </a:solidFill>
              </a:rPr>
              <a:t>100Mbit/s</a:t>
            </a:r>
          </a:p>
        </p:txBody>
      </p:sp>
      <p:sp>
        <p:nvSpPr>
          <p:cNvPr id="73" name="Rectangle 72">
            <a:extLst>
              <a:ext uri="{FF2B5EF4-FFF2-40B4-BE49-F238E27FC236}">
                <a16:creationId xmlns:a16="http://schemas.microsoft.com/office/drawing/2014/main" id="{F2830358-B6FF-2748-2113-CDBBC76402ED}"/>
              </a:ext>
            </a:extLst>
          </p:cNvPr>
          <p:cNvSpPr/>
          <p:nvPr/>
        </p:nvSpPr>
        <p:spPr>
          <a:xfrm>
            <a:off x="3755700" y="2079397"/>
            <a:ext cx="1440000" cy="4379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Obegränsad </a:t>
            </a:r>
            <a:r>
              <a:rPr lang="sv-SE" sz="1000">
                <a:solidFill>
                  <a:schemeClr val="tx1"/>
                </a:solidFill>
              </a:rPr>
              <a:t>249kr</a:t>
            </a:r>
          </a:p>
          <a:p>
            <a:pPr algn="ctr"/>
            <a:r>
              <a:rPr lang="sv-SE" sz="1000">
                <a:solidFill>
                  <a:schemeClr val="tx1"/>
                </a:solidFill>
              </a:rPr>
              <a:t>100Mbit/s</a:t>
            </a:r>
          </a:p>
        </p:txBody>
      </p:sp>
      <p:sp>
        <p:nvSpPr>
          <p:cNvPr id="10" name="Isosceles Triangle 9">
            <a:extLst>
              <a:ext uri="{FF2B5EF4-FFF2-40B4-BE49-F238E27FC236}">
                <a16:creationId xmlns:a16="http://schemas.microsoft.com/office/drawing/2014/main" id="{2F34E3E2-D909-F04B-E305-45B671DA56B2}"/>
              </a:ext>
            </a:extLst>
          </p:cNvPr>
          <p:cNvSpPr/>
          <p:nvPr/>
        </p:nvSpPr>
        <p:spPr>
          <a:xfrm rot="10800000">
            <a:off x="4211556" y="3521191"/>
            <a:ext cx="3892732" cy="36472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a:extLst>
              <a:ext uri="{FF2B5EF4-FFF2-40B4-BE49-F238E27FC236}">
                <a16:creationId xmlns:a16="http://schemas.microsoft.com/office/drawing/2014/main" id="{B81C67D7-A7BE-F01F-F76B-0200EF22D563}"/>
              </a:ext>
            </a:extLst>
          </p:cNvPr>
          <p:cNvSpPr/>
          <p:nvPr/>
        </p:nvSpPr>
        <p:spPr>
          <a:xfrm>
            <a:off x="2031414" y="4282639"/>
            <a:ext cx="1440000" cy="4423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Obegränsad Max </a:t>
            </a:r>
            <a:r>
              <a:rPr lang="sv-SE" sz="1000">
                <a:solidFill>
                  <a:schemeClr val="tx1"/>
                </a:solidFill>
              </a:rPr>
              <a:t>399kr</a:t>
            </a:r>
          </a:p>
          <a:p>
            <a:pPr algn="ctr"/>
            <a:r>
              <a:rPr lang="sv-SE" sz="1000">
                <a:solidFill>
                  <a:schemeClr val="tx1"/>
                </a:solidFill>
              </a:rPr>
              <a:t>Inkl. ett Datakort</a:t>
            </a:r>
          </a:p>
        </p:txBody>
      </p:sp>
      <p:sp>
        <p:nvSpPr>
          <p:cNvPr id="14" name="Rectangle 13">
            <a:extLst>
              <a:ext uri="{FF2B5EF4-FFF2-40B4-BE49-F238E27FC236}">
                <a16:creationId xmlns:a16="http://schemas.microsoft.com/office/drawing/2014/main" id="{0C79179D-29E6-4F9D-8B60-DFEAC41D17E0}"/>
              </a:ext>
            </a:extLst>
          </p:cNvPr>
          <p:cNvSpPr/>
          <p:nvPr/>
        </p:nvSpPr>
        <p:spPr>
          <a:xfrm>
            <a:off x="3755700" y="4272232"/>
            <a:ext cx="1440000" cy="4423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Obegränsad </a:t>
            </a:r>
            <a:r>
              <a:rPr lang="sv-SE" sz="1000">
                <a:solidFill>
                  <a:schemeClr val="tx1"/>
                </a:solidFill>
              </a:rPr>
              <a:t>299kr</a:t>
            </a:r>
          </a:p>
          <a:p>
            <a:pPr algn="ctr"/>
            <a:r>
              <a:rPr lang="sv-SE" sz="1000">
                <a:solidFill>
                  <a:schemeClr val="tx1"/>
                </a:solidFill>
              </a:rPr>
              <a:t>300Mbit/s</a:t>
            </a:r>
          </a:p>
        </p:txBody>
      </p:sp>
      <p:sp>
        <p:nvSpPr>
          <p:cNvPr id="16" name="Rectangle 15">
            <a:extLst>
              <a:ext uri="{FF2B5EF4-FFF2-40B4-BE49-F238E27FC236}">
                <a16:creationId xmlns:a16="http://schemas.microsoft.com/office/drawing/2014/main" id="{6E98644F-DD42-19EF-631C-3027C52D9524}"/>
              </a:ext>
            </a:extLst>
          </p:cNvPr>
          <p:cNvSpPr/>
          <p:nvPr/>
        </p:nvSpPr>
        <p:spPr>
          <a:xfrm>
            <a:off x="5479986" y="4282639"/>
            <a:ext cx="1440000" cy="44238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15GB </a:t>
            </a:r>
            <a:r>
              <a:rPr lang="sv-SE" sz="1000">
                <a:solidFill>
                  <a:schemeClr val="tx1"/>
                </a:solidFill>
              </a:rPr>
              <a:t>199kr</a:t>
            </a:r>
          </a:p>
          <a:p>
            <a:pPr algn="ctr"/>
            <a:r>
              <a:rPr lang="sv-SE" sz="1000">
                <a:solidFill>
                  <a:schemeClr val="tx1"/>
                </a:solidFill>
              </a:rPr>
              <a:t>100Mbit/s</a:t>
            </a:r>
          </a:p>
        </p:txBody>
      </p:sp>
      <p:sp>
        <p:nvSpPr>
          <p:cNvPr id="17" name="Rectangle 16">
            <a:extLst>
              <a:ext uri="{FF2B5EF4-FFF2-40B4-BE49-F238E27FC236}">
                <a16:creationId xmlns:a16="http://schemas.microsoft.com/office/drawing/2014/main" id="{2617F1AB-EC8E-3D6C-E69F-3385E22D9627}"/>
              </a:ext>
            </a:extLst>
          </p:cNvPr>
          <p:cNvSpPr/>
          <p:nvPr/>
        </p:nvSpPr>
        <p:spPr>
          <a:xfrm>
            <a:off x="7204273" y="4282639"/>
            <a:ext cx="1440000" cy="44238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6GB </a:t>
            </a:r>
            <a:r>
              <a:rPr lang="sv-SE" sz="1000">
                <a:solidFill>
                  <a:schemeClr val="tx1"/>
                </a:solidFill>
              </a:rPr>
              <a:t>149kr</a:t>
            </a:r>
          </a:p>
          <a:p>
            <a:pPr algn="ctr"/>
            <a:r>
              <a:rPr lang="sv-SE" sz="1000">
                <a:solidFill>
                  <a:schemeClr val="tx1"/>
                </a:solidFill>
              </a:rPr>
              <a:t>100Mbit/s</a:t>
            </a:r>
          </a:p>
        </p:txBody>
      </p:sp>
      <p:sp>
        <p:nvSpPr>
          <p:cNvPr id="22" name="Rectangle 21">
            <a:extLst>
              <a:ext uri="{FF2B5EF4-FFF2-40B4-BE49-F238E27FC236}">
                <a16:creationId xmlns:a16="http://schemas.microsoft.com/office/drawing/2014/main" id="{060FCA76-6E39-4EFF-3437-E0E9499A8E4B}"/>
              </a:ext>
            </a:extLst>
          </p:cNvPr>
          <p:cNvSpPr/>
          <p:nvPr/>
        </p:nvSpPr>
        <p:spPr>
          <a:xfrm>
            <a:off x="8928560" y="4272232"/>
            <a:ext cx="1440000" cy="44238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1GB </a:t>
            </a:r>
            <a:r>
              <a:rPr lang="sv-SE" sz="1000">
                <a:solidFill>
                  <a:schemeClr val="tx1"/>
                </a:solidFill>
              </a:rPr>
              <a:t>99kr</a:t>
            </a:r>
          </a:p>
          <a:p>
            <a:pPr algn="ctr"/>
            <a:r>
              <a:rPr lang="sv-SE" sz="1000">
                <a:solidFill>
                  <a:schemeClr val="tx1"/>
                </a:solidFill>
              </a:rPr>
              <a:t>100Mbit/s</a:t>
            </a:r>
          </a:p>
        </p:txBody>
      </p:sp>
      <p:pic>
        <p:nvPicPr>
          <p:cNvPr id="33" name="Graphic 32" descr="Earth globe: Africa and Europe with solid fill">
            <a:extLst>
              <a:ext uri="{FF2B5EF4-FFF2-40B4-BE49-F238E27FC236}">
                <a16:creationId xmlns:a16="http://schemas.microsoft.com/office/drawing/2014/main" id="{EA475241-7241-B9BE-FD71-D4833566DE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8067" y="4141774"/>
            <a:ext cx="291682" cy="252647"/>
          </a:xfrm>
          <a:prstGeom prst="rect">
            <a:avLst/>
          </a:prstGeom>
        </p:spPr>
      </p:pic>
      <p:sp>
        <p:nvSpPr>
          <p:cNvPr id="39" name="TextBox 38">
            <a:extLst>
              <a:ext uri="{FF2B5EF4-FFF2-40B4-BE49-F238E27FC236}">
                <a16:creationId xmlns:a16="http://schemas.microsoft.com/office/drawing/2014/main" id="{B0A5AD65-35A0-CECC-8EA6-0DB099A88891}"/>
              </a:ext>
            </a:extLst>
          </p:cNvPr>
          <p:cNvSpPr txBox="1"/>
          <p:nvPr/>
        </p:nvSpPr>
        <p:spPr>
          <a:xfrm>
            <a:off x="285510" y="4382111"/>
            <a:ext cx="1683819" cy="307777"/>
          </a:xfrm>
          <a:prstGeom prst="rect">
            <a:avLst/>
          </a:prstGeom>
          <a:noFill/>
        </p:spPr>
        <p:txBody>
          <a:bodyPr wrap="square" rtlCol="0">
            <a:spAutoFit/>
          </a:bodyPr>
          <a:lstStyle/>
          <a:p>
            <a:pPr algn="l"/>
            <a:r>
              <a:rPr lang="sv-SE" sz="1400">
                <a:solidFill>
                  <a:sysClr val="windowText" lastClr="000000"/>
                </a:solidFill>
              </a:rPr>
              <a:t>”Ny” portfölj</a:t>
            </a:r>
          </a:p>
        </p:txBody>
      </p:sp>
      <p:sp>
        <p:nvSpPr>
          <p:cNvPr id="12" name="TextBox 11">
            <a:extLst>
              <a:ext uri="{FF2B5EF4-FFF2-40B4-BE49-F238E27FC236}">
                <a16:creationId xmlns:a16="http://schemas.microsoft.com/office/drawing/2014/main" id="{175D4DC5-8E97-53BA-3918-F21E0EEFE8AF}"/>
              </a:ext>
            </a:extLst>
          </p:cNvPr>
          <p:cNvSpPr txBox="1"/>
          <p:nvPr/>
        </p:nvSpPr>
        <p:spPr>
          <a:xfrm>
            <a:off x="139287" y="6453368"/>
            <a:ext cx="3572664" cy="276999"/>
          </a:xfrm>
          <a:prstGeom prst="rect">
            <a:avLst/>
          </a:prstGeom>
          <a:noFill/>
        </p:spPr>
        <p:txBody>
          <a:bodyPr wrap="square" rtlCol="0">
            <a:spAutoFit/>
          </a:bodyPr>
          <a:lstStyle/>
          <a:p>
            <a:pPr algn="l"/>
            <a:r>
              <a:rPr lang="sv-SE" sz="1200" b="1" i="1"/>
              <a:t>Alla priser är med bindningsrabatt</a:t>
            </a:r>
          </a:p>
        </p:txBody>
      </p:sp>
      <p:sp>
        <p:nvSpPr>
          <p:cNvPr id="23" name="Rectangle 22">
            <a:extLst>
              <a:ext uri="{FF2B5EF4-FFF2-40B4-BE49-F238E27FC236}">
                <a16:creationId xmlns:a16="http://schemas.microsoft.com/office/drawing/2014/main" id="{3BF89DD8-B936-58D3-D53B-84D1D63366E2}"/>
              </a:ext>
            </a:extLst>
          </p:cNvPr>
          <p:cNvSpPr/>
          <p:nvPr/>
        </p:nvSpPr>
        <p:spPr>
          <a:xfrm>
            <a:off x="7204273" y="2091063"/>
            <a:ext cx="1440000" cy="44238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sz="1000" b="1">
                <a:solidFill>
                  <a:schemeClr val="tx1"/>
                </a:solidFill>
              </a:rPr>
              <a:t>3Företag 6GB </a:t>
            </a:r>
            <a:r>
              <a:rPr lang="sv-SE" sz="1000">
                <a:solidFill>
                  <a:schemeClr val="tx1"/>
                </a:solidFill>
              </a:rPr>
              <a:t>149kr</a:t>
            </a:r>
          </a:p>
          <a:p>
            <a:pPr algn="ctr"/>
            <a:r>
              <a:rPr lang="sv-SE" sz="1000">
                <a:solidFill>
                  <a:schemeClr val="tx1"/>
                </a:solidFill>
              </a:rPr>
              <a:t>100Mbit/s</a:t>
            </a:r>
          </a:p>
        </p:txBody>
      </p:sp>
      <p:sp>
        <p:nvSpPr>
          <p:cNvPr id="36" name="Rectangle: Rounded Corners 35">
            <a:extLst>
              <a:ext uri="{FF2B5EF4-FFF2-40B4-BE49-F238E27FC236}">
                <a16:creationId xmlns:a16="http://schemas.microsoft.com/office/drawing/2014/main" id="{C918E8C0-1EBC-4FF8-EB45-A9A097E2FA3A}"/>
              </a:ext>
            </a:extLst>
          </p:cNvPr>
          <p:cNvSpPr/>
          <p:nvPr/>
        </p:nvSpPr>
        <p:spPr>
          <a:xfrm>
            <a:off x="2031413" y="4935796"/>
            <a:ext cx="8337147" cy="1384079"/>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chemeClr val="bg1"/>
                </a:solidFill>
              </a:rPr>
              <a:t>Förändringarna som sker är:</a:t>
            </a:r>
          </a:p>
          <a:p>
            <a:pPr marL="285750" indent="-285750" algn="ctr">
              <a:buFontTx/>
              <a:buChar char="-"/>
            </a:pPr>
            <a:r>
              <a:rPr lang="sv-SE" sz="1400">
                <a:solidFill>
                  <a:schemeClr val="bg1"/>
                </a:solidFill>
              </a:rPr>
              <a:t>Vi tar bort </a:t>
            </a:r>
            <a:r>
              <a:rPr lang="sv-SE" sz="1400" i="1">
                <a:solidFill>
                  <a:schemeClr val="bg1"/>
                </a:solidFill>
              </a:rPr>
              <a:t>3Kollega</a:t>
            </a:r>
            <a:r>
              <a:rPr lang="sv-SE" sz="1400">
                <a:solidFill>
                  <a:schemeClr val="bg1"/>
                </a:solidFill>
              </a:rPr>
              <a:t> och </a:t>
            </a:r>
            <a:r>
              <a:rPr lang="sv-SE" sz="1400" i="1">
                <a:solidFill>
                  <a:schemeClr val="bg1"/>
                </a:solidFill>
              </a:rPr>
              <a:t>3Företag med 3Världen </a:t>
            </a:r>
            <a:r>
              <a:rPr lang="sv-SE" sz="1400">
                <a:solidFill>
                  <a:schemeClr val="bg1"/>
                </a:solidFill>
              </a:rPr>
              <a:t>med anledning av presenterad bakgrund</a:t>
            </a:r>
          </a:p>
          <a:p>
            <a:pPr marL="285750" indent="-285750" algn="ctr">
              <a:buFontTx/>
              <a:buChar char="-"/>
            </a:pPr>
            <a:r>
              <a:rPr lang="sv-SE" sz="1400">
                <a:solidFill>
                  <a:schemeClr val="bg1"/>
                </a:solidFill>
              </a:rPr>
              <a:t>3Företag Obegränsad får en högre hastighet (300Mbit/s)</a:t>
            </a:r>
          </a:p>
          <a:p>
            <a:pPr marL="285750" indent="-285750" algn="ctr">
              <a:buFontTx/>
              <a:buChar char="-"/>
            </a:pPr>
            <a:r>
              <a:rPr lang="sv-SE" sz="1400">
                <a:solidFill>
                  <a:schemeClr val="bg1"/>
                </a:solidFill>
              </a:rPr>
              <a:t>Alla kanaler får tillgång till 6GB</a:t>
            </a:r>
          </a:p>
          <a:p>
            <a:pPr marL="285750" indent="-285750" algn="ctr">
              <a:buFontTx/>
              <a:buChar char="-"/>
            </a:pPr>
            <a:r>
              <a:rPr lang="sv-SE" sz="1400">
                <a:solidFill>
                  <a:schemeClr val="bg1"/>
                </a:solidFill>
              </a:rPr>
              <a:t>Vi höjer priset på </a:t>
            </a:r>
            <a:r>
              <a:rPr lang="sv-SE" sz="1400" err="1">
                <a:solidFill>
                  <a:schemeClr val="bg1"/>
                </a:solidFill>
              </a:rPr>
              <a:t>Obg</a:t>
            </a:r>
            <a:r>
              <a:rPr lang="sv-SE" sz="1400">
                <a:solidFill>
                  <a:schemeClr val="bg1"/>
                </a:solidFill>
              </a:rPr>
              <a:t> Max och </a:t>
            </a:r>
            <a:r>
              <a:rPr lang="sv-SE" sz="1400" err="1">
                <a:solidFill>
                  <a:schemeClr val="bg1"/>
                </a:solidFill>
              </a:rPr>
              <a:t>Obg</a:t>
            </a:r>
            <a:endParaRPr lang="sv-SE" sz="1400">
              <a:solidFill>
                <a:schemeClr val="bg1"/>
              </a:solidFill>
            </a:endParaRPr>
          </a:p>
        </p:txBody>
      </p:sp>
    </p:spTree>
    <p:extLst>
      <p:ext uri="{BB962C8B-B14F-4D97-AF65-F5344CB8AC3E}">
        <p14:creationId xmlns:p14="http://schemas.microsoft.com/office/powerpoint/2010/main" val="2155987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500"/>
                                        <p:tgtEl>
                                          <p:spTgt spid="7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500"/>
                                        <p:tgtEl>
                                          <p:spTgt spid="22"/>
                                        </p:tgtEl>
                                      </p:cBhvr>
                                    </p:animEffect>
                                  </p:childTnLst>
                                </p:cTn>
                              </p:par>
                              <p:par>
                                <p:cTn id="63" presetID="10"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fade">
                                      <p:cBhvr>
                                        <p:cTn id="68" dur="500"/>
                                        <p:tgtEl>
                                          <p:spTgt spid="3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fade">
                                      <p:cBhvr>
                                        <p:cTn id="73" dur="500"/>
                                        <p:tgtEl>
                                          <p:spTgt spid="3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
                                        </p:tgtEl>
                                        <p:attrNameLst>
                                          <p:attrName>style.visibility</p:attrName>
                                        </p:attrNameLst>
                                      </p:cBhvr>
                                      <p:to>
                                        <p:strVal val="visible"/>
                                      </p:to>
                                    </p:set>
                                    <p:animEffect transition="in" filter="fade">
                                      <p:cBhvr>
                                        <p:cTn id="7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 grpId="0" animBg="1"/>
      <p:bldP spid="7" grpId="0" animBg="1"/>
      <p:bldP spid="28" grpId="0"/>
      <p:bldP spid="29" grpId="0"/>
      <p:bldP spid="9" grpId="0" animBg="1"/>
      <p:bldP spid="18" grpId="0" animBg="1"/>
      <p:bldP spid="73" grpId="0" animBg="1"/>
      <p:bldP spid="10" grpId="0" animBg="1"/>
      <p:bldP spid="13" grpId="0" animBg="1"/>
      <p:bldP spid="14" grpId="0" animBg="1"/>
      <p:bldP spid="16" grpId="0" animBg="1"/>
      <p:bldP spid="17" grpId="0" animBg="1"/>
      <p:bldP spid="22" grpId="0" animBg="1"/>
      <p:bldP spid="39" grpId="0"/>
      <p:bldP spid="12" grpId="0"/>
      <p:bldP spid="23" grpId="0" animBg="1"/>
      <p:bldP spid="3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CC703B9-4CDF-591C-13F4-280FA6C2A9A8}"/>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2" imgW="5508" imgH="5508" progId="TCLayout.ActiveDocument.1">
                  <p:embed/>
                </p:oleObj>
              </mc:Choice>
              <mc:Fallback>
                <p:oleObj name="think-cell Slide" r:id="rId2" imgW="5508" imgH="5508" progId="TCLayout.ActiveDocument.1">
                  <p:embed/>
                  <p:pic>
                    <p:nvPicPr>
                      <p:cNvPr id="2" name="think-cell data - do not delete" hidden="1">
                        <a:extLst>
                          <a:ext uri="{FF2B5EF4-FFF2-40B4-BE49-F238E27FC236}">
                            <a16:creationId xmlns:a16="http://schemas.microsoft.com/office/drawing/2014/main" id="{9CC703B9-4CDF-591C-13F4-280FA6C2A9A8}"/>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54BF8C0C-A29D-AF84-6EBA-1BB18AC7B605}"/>
              </a:ext>
            </a:extLst>
          </p:cNvPr>
          <p:cNvSpPr txBox="1">
            <a:spLocks noGrp="1"/>
          </p:cNvSpPr>
          <p:nvPr>
            <p:ph type="title"/>
          </p:nvPr>
        </p:nvSpPr>
        <p:spPr>
          <a:xfrm>
            <a:off x="803272" y="429740"/>
            <a:ext cx="10585451" cy="900107"/>
          </a:xfrm>
          <a:prstGeom prst="rect">
            <a:avLst/>
          </a:prstGeom>
          <a:noFill/>
          <a:ln>
            <a:noFill/>
          </a:ln>
        </p:spPr>
        <p:txBody>
          <a:bodyPr vert="horz" wrap="square" lIns="0" tIns="0" rIns="0" bIns="0" anchor="t" anchorCtr="0" compatLnSpc="1">
            <a:noAutofit/>
          </a:bodyPr>
          <a:lstStyle/>
          <a:p>
            <a:pPr lvl="0"/>
            <a:r>
              <a:rPr lang="sv-SE"/>
              <a:t>De nya priserna speglar värdet och innehållet i våra produkter samtidigt som vi fortfarande </a:t>
            </a:r>
            <a:r>
              <a:rPr lang="sv-SE" i="1"/>
              <a:t>behåller vår position som mest prisvärda</a:t>
            </a:r>
          </a:p>
        </p:txBody>
      </p:sp>
      <p:graphicFrame>
        <p:nvGraphicFramePr>
          <p:cNvPr id="4" name="Table 3">
            <a:extLst>
              <a:ext uri="{FF2B5EF4-FFF2-40B4-BE49-F238E27FC236}">
                <a16:creationId xmlns:a16="http://schemas.microsoft.com/office/drawing/2014/main" id="{F8F6EF75-67CD-ED4A-525E-E83CA0F9F4A3}"/>
              </a:ext>
            </a:extLst>
          </p:cNvPr>
          <p:cNvGraphicFramePr>
            <a:graphicFrameLocks noGrp="1"/>
          </p:cNvGraphicFramePr>
          <p:nvPr/>
        </p:nvGraphicFramePr>
        <p:xfrm>
          <a:off x="831582" y="2703871"/>
          <a:ext cx="9635849" cy="2780535"/>
        </p:xfrm>
        <a:graphic>
          <a:graphicData uri="http://schemas.openxmlformats.org/drawingml/2006/table">
            <a:tbl>
              <a:tblPr>
                <a:effectLst/>
                <a:tableStyleId>{2D5ABB26-0587-4C30-8999-92F81FD0307C}</a:tableStyleId>
              </a:tblPr>
              <a:tblGrid>
                <a:gridCol w="744806">
                  <a:extLst>
                    <a:ext uri="{9D8B030D-6E8A-4147-A177-3AD203B41FA5}">
                      <a16:colId xmlns:a16="http://schemas.microsoft.com/office/drawing/2014/main" val="656746274"/>
                    </a:ext>
                  </a:extLst>
                </a:gridCol>
                <a:gridCol w="744806">
                  <a:extLst>
                    <a:ext uri="{9D8B030D-6E8A-4147-A177-3AD203B41FA5}">
                      <a16:colId xmlns:a16="http://schemas.microsoft.com/office/drawing/2014/main" val="2133527499"/>
                    </a:ext>
                  </a:extLst>
                </a:gridCol>
                <a:gridCol w="756437">
                  <a:extLst>
                    <a:ext uri="{9D8B030D-6E8A-4147-A177-3AD203B41FA5}">
                      <a16:colId xmlns:a16="http://schemas.microsoft.com/office/drawing/2014/main" val="2903366690"/>
                    </a:ext>
                  </a:extLst>
                </a:gridCol>
                <a:gridCol w="756437">
                  <a:extLst>
                    <a:ext uri="{9D8B030D-6E8A-4147-A177-3AD203B41FA5}">
                      <a16:colId xmlns:a16="http://schemas.microsoft.com/office/drawing/2014/main" val="4286757832"/>
                    </a:ext>
                  </a:extLst>
                </a:gridCol>
                <a:gridCol w="826260">
                  <a:extLst>
                    <a:ext uri="{9D8B030D-6E8A-4147-A177-3AD203B41FA5}">
                      <a16:colId xmlns:a16="http://schemas.microsoft.com/office/drawing/2014/main" val="925104516"/>
                    </a:ext>
                  </a:extLst>
                </a:gridCol>
                <a:gridCol w="826260">
                  <a:extLst>
                    <a:ext uri="{9D8B030D-6E8A-4147-A177-3AD203B41FA5}">
                      <a16:colId xmlns:a16="http://schemas.microsoft.com/office/drawing/2014/main" val="1303191137"/>
                    </a:ext>
                  </a:extLst>
                </a:gridCol>
                <a:gridCol w="826260">
                  <a:extLst>
                    <a:ext uri="{9D8B030D-6E8A-4147-A177-3AD203B41FA5}">
                      <a16:colId xmlns:a16="http://schemas.microsoft.com/office/drawing/2014/main" val="3636330118"/>
                    </a:ext>
                  </a:extLst>
                </a:gridCol>
                <a:gridCol w="826260">
                  <a:extLst>
                    <a:ext uri="{9D8B030D-6E8A-4147-A177-3AD203B41FA5}">
                      <a16:colId xmlns:a16="http://schemas.microsoft.com/office/drawing/2014/main" val="2999568483"/>
                    </a:ext>
                  </a:extLst>
                </a:gridCol>
                <a:gridCol w="826260">
                  <a:extLst>
                    <a:ext uri="{9D8B030D-6E8A-4147-A177-3AD203B41FA5}">
                      <a16:colId xmlns:a16="http://schemas.microsoft.com/office/drawing/2014/main" val="2150488972"/>
                    </a:ext>
                  </a:extLst>
                </a:gridCol>
                <a:gridCol w="872813">
                  <a:extLst>
                    <a:ext uri="{9D8B030D-6E8A-4147-A177-3AD203B41FA5}">
                      <a16:colId xmlns:a16="http://schemas.microsoft.com/office/drawing/2014/main" val="1715420958"/>
                    </a:ext>
                  </a:extLst>
                </a:gridCol>
                <a:gridCol w="1629250">
                  <a:extLst>
                    <a:ext uri="{9D8B030D-6E8A-4147-A177-3AD203B41FA5}">
                      <a16:colId xmlns:a16="http://schemas.microsoft.com/office/drawing/2014/main" val="1865170259"/>
                    </a:ext>
                  </a:extLst>
                </a:gridCol>
              </a:tblGrid>
              <a:tr h="339342">
                <a:tc gridSpan="11">
                  <a:txBody>
                    <a:bodyPr/>
                    <a:lstStyle/>
                    <a:p>
                      <a:pPr lvl="0" algn="ctr" fontAlgn="b"/>
                      <a:r>
                        <a:rPr lang="sv-SE" sz="1800" b="1" i="0" u="none" strike="noStrike">
                          <a:solidFill>
                            <a:srgbClr val="FFFFFF"/>
                          </a:solidFill>
                          <a:latin typeface="Calibri" pitchFamily="34"/>
                        </a:rPr>
                        <a:t>Portfölj för icke-ram kunder</a:t>
                      </a:r>
                    </a:p>
                  </a:txBody>
                  <a:tcPr marL="9528" marR="9528" marT="9528"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9D66"/>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1000038078"/>
                  </a:ext>
                </a:extLst>
              </a:tr>
              <a:tr h="380381">
                <a:tc>
                  <a:txBody>
                    <a:bodyPr/>
                    <a:lstStyle/>
                    <a:p>
                      <a:pPr lvl="0" algn="ctr" fontAlgn="b"/>
                      <a:r>
                        <a:rPr lang="sv-SE" sz="1400" b="1" u="none" strike="noStrike"/>
                        <a:t> </a:t>
                      </a:r>
                      <a:endParaRPr lang="sv-SE" sz="1400" b="1" i="0" u="none" strike="noStrike">
                        <a:solidFill>
                          <a:srgbClr val="000000"/>
                        </a:solidFill>
                        <a:latin typeface="Calibri" pitchFamily="34"/>
                      </a:endParaRPr>
                    </a:p>
                  </a:txBody>
                  <a:tcPr marL="9528" marR="9528" marT="9528" marB="0" anchor="b">
                    <a:lnL w="12701" cap="flat" cmpd="sng" algn="ctr">
                      <a:solidFill>
                        <a:srgbClr val="000000"/>
                      </a:solidFill>
                      <a:prstDash val="solid"/>
                      <a:round/>
                      <a:headEnd type="none" w="med" len="med"/>
                      <a:tailEnd type="none" w="med" len="med"/>
                    </a:lnL>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Rörlig</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1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5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6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10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15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50GB</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Obg</a:t>
                      </a:r>
                      <a:endParaRPr lang="sv-SE" sz="1400" b="1" i="0" u="none" strike="noStrike">
                        <a:solidFill>
                          <a:srgbClr val="0000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lvl="0" algn="ctr" fontAlgn="b"/>
                      <a:r>
                        <a:rPr lang="sv-SE" sz="1400" b="1" u="none" strike="noStrike"/>
                        <a:t>Obg Max/Plus</a:t>
                      </a:r>
                      <a:endParaRPr lang="sv-SE" sz="1400" b="1" i="0" u="none" strike="noStrike">
                        <a:solidFill>
                          <a:srgbClr val="000000"/>
                        </a:solidFill>
                        <a:latin typeface="Calibri" pitchFamily="34"/>
                      </a:endParaRPr>
                    </a:p>
                  </a:txBody>
                  <a:tcPr marL="9528" marR="9528" marT="9528" marB="0" anchor="b">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3796006"/>
                  </a:ext>
                </a:extLst>
              </a:tr>
              <a:tr h="451576">
                <a:tc>
                  <a:txBody>
                    <a:bodyPr/>
                    <a:lstStyle/>
                    <a:p>
                      <a:pPr lvl="0" algn="l" fontAlgn="b"/>
                      <a:r>
                        <a:rPr lang="sv-SE" sz="1600" b="1" u="none" strike="noStrike">
                          <a:solidFill>
                            <a:srgbClr val="FF5C00"/>
                          </a:solidFill>
                        </a:rPr>
                        <a:t>Tre</a:t>
                      </a:r>
                      <a:endParaRPr lang="sv-SE" sz="1600" b="1" i="0" u="none" strike="noStrike">
                        <a:solidFill>
                          <a:srgbClr val="FF5C00"/>
                        </a:solidFill>
                        <a:latin typeface="Calibri" pitchFamily="34"/>
                      </a:endParaRPr>
                    </a:p>
                  </a:txBody>
                  <a:tcPr marL="9528" marR="9528" marT="9528" marB="0" anchor="b">
                    <a:lnL w="12701" cap="flat" cmpd="sng" algn="ctr">
                      <a:solidFill>
                        <a:srgbClr val="000000"/>
                      </a:solidFill>
                      <a:prstDash val="solid"/>
                      <a:round/>
                      <a:headEnd type="none" w="med" len="med"/>
                      <a:tailEnd type="none" w="med" len="med"/>
                    </a:lnL>
                    <a:lnT w="12701" cap="flat" cmpd="sng" algn="ctr">
                      <a:solidFill>
                        <a:srgbClr val="000000"/>
                      </a:solidFill>
                      <a:prstDash val="solid"/>
                      <a:round/>
                      <a:headEnd type="none" w="med" len="med"/>
                      <a:tailEnd type="none" w="med" len="med"/>
                    </a:lnT>
                    <a:solidFill>
                      <a:srgbClr val="FFDECC"/>
                    </a:solidFill>
                  </a:tcPr>
                </a:tc>
                <a:tc>
                  <a:txBody>
                    <a:bodyPr/>
                    <a:lstStyle/>
                    <a:p>
                      <a:pPr lvl="0" algn="l" fontAlgn="b"/>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         79 kr </a:t>
                      </a:r>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         99 kr </a:t>
                      </a:r>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         149 kr </a:t>
                      </a:r>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         199 kr </a:t>
                      </a:r>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          299 kr </a:t>
                      </a:r>
                      <a:endParaRPr lang="sv-SE" sz="1600" b="0" i="0" u="none" strike="noStrike">
                        <a:solidFill>
                          <a:srgbClr val="FF5C00"/>
                        </a:solidFill>
                        <a:latin typeface="Calibri" pitchFamily="34"/>
                      </a:endParaRPr>
                    </a:p>
                  </a:txBody>
                  <a:tcPr marL="9528" marR="9528" marT="9528" marB="0" anchor="b">
                    <a:lnT w="12701" cap="flat" cmpd="sng" algn="ctr">
                      <a:solidFill>
                        <a:srgbClr val="000000"/>
                      </a:solidFill>
                      <a:prstDash val="solid"/>
                      <a:round/>
                      <a:headEnd type="none" w="med" len="med"/>
                      <a:tailEnd type="none" w="med" len="med"/>
                    </a:lnT>
                    <a:solidFill>
                      <a:srgbClr val="FFDECC"/>
                    </a:solidFill>
                  </a:tcPr>
                </a:tc>
                <a:tc>
                  <a:txBody>
                    <a:bodyPr/>
                    <a:lstStyle/>
                    <a:p>
                      <a:pPr lvl="0" algn="ctr" fontAlgn="b"/>
                      <a:r>
                        <a:rPr lang="sv-SE" sz="1600" b="0" u="none" strike="noStrike">
                          <a:solidFill>
                            <a:srgbClr val="FF5C00"/>
                          </a:solidFill>
                        </a:rPr>
                        <a:t>399 kr </a:t>
                      </a:r>
                      <a:endParaRPr lang="sv-SE" sz="1600" b="0" i="0" u="none" strike="noStrike">
                        <a:solidFill>
                          <a:srgbClr val="FF5C00"/>
                        </a:solidFill>
                        <a:latin typeface="Calibri" pitchFamily="34"/>
                      </a:endParaRPr>
                    </a:p>
                  </a:txBody>
                  <a:tcPr marL="9528" marR="9528" marT="9528" marB="0" anchor="b">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solidFill>
                      <a:srgbClr val="FFDECC"/>
                    </a:solidFill>
                  </a:tcPr>
                </a:tc>
                <a:extLst>
                  <a:ext uri="{0D108BD9-81ED-4DB2-BD59-A6C34878D82A}">
                    <a16:rowId xmlns:a16="http://schemas.microsoft.com/office/drawing/2014/main" val="3779876435"/>
                  </a:ext>
                </a:extLst>
              </a:tr>
              <a:tr h="510500">
                <a:tc>
                  <a:txBody>
                    <a:bodyPr/>
                    <a:lstStyle/>
                    <a:p>
                      <a:pPr lvl="0" algn="l" fontAlgn="b"/>
                      <a:r>
                        <a:rPr lang="sv-SE" sz="1600" b="1" u="none" strike="noStrike">
                          <a:solidFill>
                            <a:srgbClr val="FFFFFF"/>
                          </a:solidFill>
                        </a:rPr>
                        <a:t>Tele2</a:t>
                      </a:r>
                      <a:endParaRPr lang="sv-SE" sz="1600" b="1" i="0" u="none" strike="noStrike">
                        <a:solidFill>
                          <a:srgbClr val="FFFFFF"/>
                        </a:solidFill>
                        <a:latin typeface="Calibri" pitchFamily="34"/>
                      </a:endParaRPr>
                    </a:p>
                  </a:txBody>
                  <a:tcPr marL="9528" marR="9528" marT="9528" marB="0" anchor="b">
                    <a:lnL w="12701" cap="flat" cmpd="sng" algn="ctr">
                      <a:solidFill>
                        <a:srgbClr val="000000"/>
                      </a:solidFill>
                      <a:prstDash val="solid"/>
                      <a:round/>
                      <a:headEnd type="none" w="med" len="med"/>
                      <a:tailEnd type="none" w="med" len="med"/>
                    </a:lnL>
                    <a:solidFill>
                      <a:srgbClr val="002060"/>
                    </a:solidFill>
                  </a:tcPr>
                </a:tc>
                <a:tc>
                  <a:txBody>
                    <a:bodyPr/>
                    <a:lstStyle/>
                    <a:p>
                      <a:pPr lvl="0" algn="l"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r>
                        <a:rPr lang="sv-SE" sz="1600" b="0" u="none" strike="noStrike">
                          <a:solidFill>
                            <a:srgbClr val="FFFFFF"/>
                          </a:solidFill>
                        </a:rPr>
                        <a:t>          349 kr </a:t>
                      </a:r>
                      <a:endParaRPr lang="sv-SE" sz="1600" b="0" i="0" u="none" strike="noStrike">
                        <a:solidFill>
                          <a:srgbClr val="FFFFFF"/>
                        </a:solidFill>
                        <a:latin typeface="Calibri" pitchFamily="34"/>
                      </a:endParaRPr>
                    </a:p>
                  </a:txBody>
                  <a:tcPr marL="9528" marR="9528" marT="9528" marB="0" anchor="b">
                    <a:solidFill>
                      <a:srgbClr val="002060"/>
                    </a:solidFill>
                  </a:tcPr>
                </a:tc>
                <a:tc>
                  <a:txBody>
                    <a:bodyPr/>
                    <a:lstStyle/>
                    <a:p>
                      <a:pPr lvl="0" algn="ctr" fontAlgn="b"/>
                      <a:r>
                        <a:rPr lang="sv-SE" sz="1600" b="0" u="none" strike="noStrike">
                          <a:solidFill>
                            <a:srgbClr val="FFFFFF"/>
                          </a:solidFill>
                        </a:rPr>
                        <a:t>449 kr </a:t>
                      </a:r>
                      <a:endParaRPr lang="sv-SE" sz="1600" b="0" i="0" u="none" strike="noStrike">
                        <a:solidFill>
                          <a:srgbClr val="FFFFFF"/>
                        </a:solidFill>
                        <a:latin typeface="Calibri" pitchFamily="34"/>
                      </a:endParaRPr>
                    </a:p>
                  </a:txBody>
                  <a:tcPr marL="9528" marR="9528" marT="9528" marB="0" anchor="b">
                    <a:lnR w="12701" cap="flat" cmpd="sng" algn="ctr">
                      <a:solidFill>
                        <a:srgbClr val="000000"/>
                      </a:solidFill>
                      <a:prstDash val="solid"/>
                      <a:round/>
                      <a:headEnd type="none" w="med" len="med"/>
                      <a:tailEnd type="none" w="med" len="med"/>
                    </a:lnR>
                    <a:solidFill>
                      <a:srgbClr val="002060"/>
                    </a:solidFill>
                  </a:tcPr>
                </a:tc>
                <a:extLst>
                  <a:ext uri="{0D108BD9-81ED-4DB2-BD59-A6C34878D82A}">
                    <a16:rowId xmlns:a16="http://schemas.microsoft.com/office/drawing/2014/main" val="3001073240"/>
                  </a:ext>
                </a:extLst>
              </a:tr>
              <a:tr h="542604">
                <a:tc>
                  <a:txBody>
                    <a:bodyPr/>
                    <a:lstStyle/>
                    <a:p>
                      <a:pPr lvl="0" algn="l" fontAlgn="b"/>
                      <a:r>
                        <a:rPr lang="sv-SE" sz="1600" b="1" u="none" strike="noStrike">
                          <a:solidFill>
                            <a:srgbClr val="FFFFFF"/>
                          </a:solidFill>
                        </a:rPr>
                        <a:t>Telia</a:t>
                      </a:r>
                      <a:endParaRPr lang="sv-SE" sz="1600" b="1" i="0" u="none" strike="noStrike">
                        <a:solidFill>
                          <a:srgbClr val="FFFFFF"/>
                        </a:solidFill>
                        <a:latin typeface="Calibri" pitchFamily="34"/>
                      </a:endParaRPr>
                    </a:p>
                  </a:txBody>
                  <a:tcPr marL="9528" marR="9528" marT="9528" marB="0" anchor="b">
                    <a:lnL w="12701" cap="flat" cmpd="sng" algn="ctr">
                      <a:solidFill>
                        <a:srgbClr val="000000"/>
                      </a:solidFill>
                      <a:prstDash val="solid"/>
                      <a:round/>
                      <a:headEnd type="none" w="med" len="med"/>
                      <a:tailEnd type="none" w="med" len="med"/>
                    </a:lnL>
                    <a:solidFill>
                      <a:srgbClr val="990AE3"/>
                    </a:solidFill>
                  </a:tcPr>
                </a:tc>
                <a:tc>
                  <a:txBody>
                    <a:bodyPr/>
                    <a:lstStyle/>
                    <a:p>
                      <a:pPr lvl="0" algn="l"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r>
                        <a:rPr lang="sv-SE" sz="1600" b="0" u="none" strike="noStrike">
                          <a:solidFill>
                            <a:srgbClr val="FFFFFF"/>
                          </a:solidFill>
                        </a:rPr>
                        <a:t>299 kr </a:t>
                      </a:r>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r>
                        <a:rPr lang="sv-SE" sz="1600" b="0" u="none" strike="noStrike">
                          <a:solidFill>
                            <a:srgbClr val="FFFFFF"/>
                          </a:solidFill>
                        </a:rPr>
                        <a:t>349 kr </a:t>
                      </a:r>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r>
                        <a:rPr lang="sv-SE" sz="1600" b="0" u="none" strike="noStrike">
                          <a:solidFill>
                            <a:srgbClr val="FFFFFF"/>
                          </a:solidFill>
                        </a:rPr>
                        <a:t>449 kr </a:t>
                      </a:r>
                      <a:endParaRPr lang="sv-SE" sz="1600" b="0" i="0" u="none" strike="noStrike">
                        <a:solidFill>
                          <a:srgbClr val="FFFFFF"/>
                        </a:solidFill>
                        <a:latin typeface="Calibri" pitchFamily="34"/>
                      </a:endParaRPr>
                    </a:p>
                  </a:txBody>
                  <a:tcPr marL="9528" marR="9528" marT="9528" marB="0" anchor="b">
                    <a:solidFill>
                      <a:srgbClr val="990AE3"/>
                    </a:solidFill>
                  </a:tcPr>
                </a:tc>
                <a:tc>
                  <a:txBody>
                    <a:bodyPr/>
                    <a:lstStyle/>
                    <a:p>
                      <a:pPr lvl="0" algn="ctr" fontAlgn="b"/>
                      <a:r>
                        <a:rPr lang="sv-SE" sz="1600" b="0" u="none" strike="noStrike">
                          <a:solidFill>
                            <a:srgbClr val="FFFFFF"/>
                          </a:solidFill>
                        </a:rPr>
                        <a:t>549 kr </a:t>
                      </a:r>
                      <a:endParaRPr lang="sv-SE" sz="1600" b="0" i="0" u="none" strike="noStrike">
                        <a:solidFill>
                          <a:srgbClr val="FFFFFF"/>
                        </a:solidFill>
                        <a:latin typeface="Calibri" pitchFamily="34"/>
                      </a:endParaRPr>
                    </a:p>
                  </a:txBody>
                  <a:tcPr marL="9528" marR="9528" marT="9528" marB="0" anchor="b">
                    <a:lnR w="12701" cap="flat" cmpd="sng" algn="ctr">
                      <a:solidFill>
                        <a:srgbClr val="000000"/>
                      </a:solidFill>
                      <a:prstDash val="solid"/>
                      <a:round/>
                      <a:headEnd type="none" w="med" len="med"/>
                      <a:tailEnd type="none" w="med" len="med"/>
                    </a:lnR>
                    <a:solidFill>
                      <a:srgbClr val="990AE3"/>
                    </a:solidFill>
                  </a:tcPr>
                </a:tc>
                <a:extLst>
                  <a:ext uri="{0D108BD9-81ED-4DB2-BD59-A6C34878D82A}">
                    <a16:rowId xmlns:a16="http://schemas.microsoft.com/office/drawing/2014/main" val="1573718298"/>
                  </a:ext>
                </a:extLst>
              </a:tr>
              <a:tr h="510500">
                <a:tc>
                  <a:txBody>
                    <a:bodyPr/>
                    <a:lstStyle/>
                    <a:p>
                      <a:pPr lvl="0" algn="l" fontAlgn="b"/>
                      <a:r>
                        <a:rPr lang="sv-SE" sz="1600" b="1" u="none" strike="noStrike">
                          <a:solidFill>
                            <a:srgbClr val="FFFFFF"/>
                          </a:solidFill>
                        </a:rPr>
                        <a:t>Telenor</a:t>
                      </a:r>
                      <a:endParaRPr lang="sv-SE" sz="1600" b="1" i="0" u="none" strike="noStrike">
                        <a:solidFill>
                          <a:srgbClr val="FFFFFF"/>
                        </a:solidFill>
                        <a:latin typeface="Calibri" pitchFamily="34"/>
                      </a:endParaRPr>
                    </a:p>
                  </a:txBody>
                  <a:tcPr marL="9528" marR="9528" marT="9528" marB="0" anchor="b">
                    <a:lnL w="12701" cap="flat" cmpd="sng" algn="ctr">
                      <a:solidFill>
                        <a:srgbClr val="000000"/>
                      </a:solidFill>
                      <a:prstDash val="solid"/>
                      <a:round/>
                      <a:headEnd type="none" w="med" len="med"/>
                      <a:tailEnd type="none" w="med" len="med"/>
                    </a:lnL>
                    <a:lnB w="12701" cap="flat" cmpd="sng" algn="ctr">
                      <a:solidFill>
                        <a:srgbClr val="000000"/>
                      </a:solidFill>
                      <a:prstDash val="solid"/>
                      <a:round/>
                      <a:headEnd type="none" w="med" len="med"/>
                      <a:tailEnd type="none" w="med" len="med"/>
                    </a:lnB>
                    <a:solidFill>
                      <a:srgbClr val="00B0F0"/>
                    </a:solidFill>
                  </a:tcPr>
                </a:tc>
                <a:tc>
                  <a:txBody>
                    <a:bodyPr/>
                    <a:lstStyle/>
                    <a:p>
                      <a:pPr lvl="0" algn="l"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219 kr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349 kr </a:t>
                      </a:r>
                      <a:endParaRPr lang="sv-SE" sz="1600" b="0" i="0" u="none" strike="noStrike">
                        <a:solidFill>
                          <a:srgbClr val="FFFFFF"/>
                        </a:solidFill>
                        <a:latin typeface="Calibri" pitchFamily="34"/>
                      </a:endParaRPr>
                    </a:p>
                  </a:txBody>
                  <a:tcPr marL="9528" marR="9528" marT="9528" marB="0" anchor="b">
                    <a:lnB w="12701" cap="flat" cmpd="sng" algn="ctr">
                      <a:solidFill>
                        <a:srgbClr val="000000"/>
                      </a:solidFill>
                      <a:prstDash val="solid"/>
                      <a:round/>
                      <a:headEnd type="none" w="med" len="med"/>
                      <a:tailEnd type="none" w="med" len="med"/>
                    </a:lnB>
                    <a:solidFill>
                      <a:srgbClr val="00B0F0"/>
                    </a:solidFill>
                  </a:tcPr>
                </a:tc>
                <a:tc>
                  <a:txBody>
                    <a:bodyPr/>
                    <a:lstStyle/>
                    <a:p>
                      <a:pPr lvl="0" algn="ctr" fontAlgn="b"/>
                      <a:r>
                        <a:rPr lang="sv-SE" sz="1600" b="0" u="none" strike="noStrike">
                          <a:solidFill>
                            <a:srgbClr val="FFFFFF"/>
                          </a:solidFill>
                        </a:rPr>
                        <a:t>449 kr </a:t>
                      </a:r>
                      <a:endParaRPr lang="sv-SE" sz="1600" b="0" i="0" u="none" strike="noStrike">
                        <a:solidFill>
                          <a:srgbClr val="FFFFFF"/>
                        </a:solidFill>
                        <a:latin typeface="Calibri" pitchFamily="34"/>
                      </a:endParaRPr>
                    </a:p>
                  </a:txBody>
                  <a:tcPr marL="9528" marR="9528" marT="9528" marB="0" anchor="b">
                    <a:lnR w="12701" cap="flat" cmpd="sng" algn="ctr">
                      <a:solidFill>
                        <a:srgbClr val="000000"/>
                      </a:solidFill>
                      <a:prstDash val="solid"/>
                      <a:round/>
                      <a:headEnd type="none" w="med" len="med"/>
                      <a:tailEnd type="none" w="med" len="med"/>
                    </a:lnR>
                    <a:lnB w="12701"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635294048"/>
                  </a:ext>
                </a:extLst>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46DCB4-1F4F-4803-6155-9692FD52DC8C}"/>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508" imgH="5508" progId="TCLayout.ActiveDocument.1">
                  <p:embed/>
                </p:oleObj>
              </mc:Choice>
              <mc:Fallback>
                <p:oleObj name="think-cell Slide" r:id="rId3" imgW="5508" imgH="5508" progId="TCLayout.ActiveDocument.1">
                  <p:embed/>
                  <p:pic>
                    <p:nvPicPr>
                      <p:cNvPr id="2" name="think-cell data - do not delete" hidden="1">
                        <a:extLst>
                          <a:ext uri="{FF2B5EF4-FFF2-40B4-BE49-F238E27FC236}">
                            <a16:creationId xmlns:a16="http://schemas.microsoft.com/office/drawing/2014/main" id="{4946DCB4-1F4F-4803-6155-9692FD52DC8C}"/>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cxnSp>
        <p:nvCxnSpPr>
          <p:cNvPr id="3" name="Straight Connector 41">
            <a:extLst>
              <a:ext uri="{FF2B5EF4-FFF2-40B4-BE49-F238E27FC236}">
                <a16:creationId xmlns:a16="http://schemas.microsoft.com/office/drawing/2014/main" id="{80414874-91B7-959A-4578-A32D0A94981B}"/>
              </a:ext>
            </a:extLst>
          </p:cNvPr>
          <p:cNvCxnSpPr/>
          <p:nvPr/>
        </p:nvCxnSpPr>
        <p:spPr>
          <a:xfrm>
            <a:off x="5888205" y="1262274"/>
            <a:ext cx="6630" cy="5496339"/>
          </a:xfrm>
          <a:prstGeom prst="straightConnector1">
            <a:avLst/>
          </a:prstGeom>
          <a:noFill/>
          <a:ln w="12701" cap="flat">
            <a:solidFill>
              <a:srgbClr val="000000"/>
            </a:solidFill>
            <a:prstDash val="solid"/>
            <a:miter/>
          </a:ln>
        </p:spPr>
      </p:cxnSp>
      <p:sp>
        <p:nvSpPr>
          <p:cNvPr id="4" name="Rectangle: Rounded Corners 14">
            <a:extLst>
              <a:ext uri="{FF2B5EF4-FFF2-40B4-BE49-F238E27FC236}">
                <a16:creationId xmlns:a16="http://schemas.microsoft.com/office/drawing/2014/main" id="{92778C5C-7BCB-8F37-112B-87B5D3979636}"/>
              </a:ext>
            </a:extLst>
          </p:cNvPr>
          <p:cNvSpPr/>
          <p:nvPr/>
        </p:nvSpPr>
        <p:spPr>
          <a:xfrm>
            <a:off x="924339" y="1933160"/>
            <a:ext cx="2286000"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Obegränsad Max</a:t>
            </a:r>
          </a:p>
        </p:txBody>
      </p:sp>
      <p:sp>
        <p:nvSpPr>
          <p:cNvPr id="5" name="Rectangle: Rounded Corners 16">
            <a:extLst>
              <a:ext uri="{FF2B5EF4-FFF2-40B4-BE49-F238E27FC236}">
                <a16:creationId xmlns:a16="http://schemas.microsoft.com/office/drawing/2014/main" id="{56DCA625-7FD1-F9C9-6762-57B3238B678A}"/>
              </a:ext>
            </a:extLst>
          </p:cNvPr>
          <p:cNvSpPr/>
          <p:nvPr/>
        </p:nvSpPr>
        <p:spPr>
          <a:xfrm>
            <a:off x="3463143" y="1933160"/>
            <a:ext cx="2286000"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Obegränsad</a:t>
            </a:r>
          </a:p>
        </p:txBody>
      </p:sp>
      <p:sp>
        <p:nvSpPr>
          <p:cNvPr id="6" name="Rectangle 18">
            <a:extLst>
              <a:ext uri="{FF2B5EF4-FFF2-40B4-BE49-F238E27FC236}">
                <a16:creationId xmlns:a16="http://schemas.microsoft.com/office/drawing/2014/main" id="{31C998FA-7006-9D92-E7F7-306B9D2994A1}"/>
              </a:ext>
            </a:extLst>
          </p:cNvPr>
          <p:cNvSpPr/>
          <p:nvPr/>
        </p:nvSpPr>
        <p:spPr>
          <a:xfrm>
            <a:off x="924339" y="1391479"/>
            <a:ext cx="4824804" cy="367744"/>
          </a:xfrm>
          <a:prstGeom prst="rect">
            <a:avLst/>
          </a:prstGeom>
          <a:solidFill>
            <a:srgbClr val="FF5C00"/>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ATL (kommer säljas på tre.se)</a:t>
            </a:r>
          </a:p>
        </p:txBody>
      </p:sp>
      <p:sp>
        <p:nvSpPr>
          <p:cNvPr id="7" name="Rectangle 19">
            <a:extLst>
              <a:ext uri="{FF2B5EF4-FFF2-40B4-BE49-F238E27FC236}">
                <a16:creationId xmlns:a16="http://schemas.microsoft.com/office/drawing/2014/main" id="{40CA31E8-25E6-043C-5050-838E838C7CFB}"/>
              </a:ext>
            </a:extLst>
          </p:cNvPr>
          <p:cNvSpPr/>
          <p:nvPr/>
        </p:nvSpPr>
        <p:spPr>
          <a:xfrm>
            <a:off x="6033897" y="1391479"/>
            <a:ext cx="5237079" cy="367744"/>
          </a:xfrm>
          <a:prstGeom prst="rect">
            <a:avLst/>
          </a:prstGeom>
          <a:solidFill>
            <a:srgbClr val="FF5C00"/>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BTL</a:t>
            </a:r>
          </a:p>
        </p:txBody>
      </p:sp>
      <p:sp>
        <p:nvSpPr>
          <p:cNvPr id="8" name="Rectangle: Rounded Corners 17">
            <a:extLst>
              <a:ext uri="{FF2B5EF4-FFF2-40B4-BE49-F238E27FC236}">
                <a16:creationId xmlns:a16="http://schemas.microsoft.com/office/drawing/2014/main" id="{C1ABFC6C-6C85-57B6-A1A6-63E488B84ED0}"/>
              </a:ext>
            </a:extLst>
          </p:cNvPr>
          <p:cNvSpPr/>
          <p:nvPr/>
        </p:nvSpPr>
        <p:spPr>
          <a:xfrm>
            <a:off x="6001938" y="1933160"/>
            <a:ext cx="1587809"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15GB</a:t>
            </a:r>
          </a:p>
        </p:txBody>
      </p:sp>
      <p:sp>
        <p:nvSpPr>
          <p:cNvPr id="9" name="Rectangle: Rounded Corners 22">
            <a:extLst>
              <a:ext uri="{FF2B5EF4-FFF2-40B4-BE49-F238E27FC236}">
                <a16:creationId xmlns:a16="http://schemas.microsoft.com/office/drawing/2014/main" id="{A2141A8A-8580-D8F1-301E-3917F4DB7FC5}"/>
              </a:ext>
            </a:extLst>
          </p:cNvPr>
          <p:cNvSpPr/>
          <p:nvPr/>
        </p:nvSpPr>
        <p:spPr>
          <a:xfrm>
            <a:off x="7842552" y="1933160"/>
            <a:ext cx="1587809"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6GB</a:t>
            </a:r>
          </a:p>
        </p:txBody>
      </p:sp>
      <p:sp>
        <p:nvSpPr>
          <p:cNvPr id="10" name="Rectangle 23">
            <a:extLst>
              <a:ext uri="{FF2B5EF4-FFF2-40B4-BE49-F238E27FC236}">
                <a16:creationId xmlns:a16="http://schemas.microsoft.com/office/drawing/2014/main" id="{4F974828-976B-8EA4-E506-CA51C48EF4A4}"/>
              </a:ext>
            </a:extLst>
          </p:cNvPr>
          <p:cNvSpPr/>
          <p:nvPr/>
        </p:nvSpPr>
        <p:spPr>
          <a:xfrm>
            <a:off x="924339" y="4035283"/>
            <a:ext cx="482480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Obegränsad surf</a:t>
            </a:r>
          </a:p>
        </p:txBody>
      </p:sp>
      <p:sp>
        <p:nvSpPr>
          <p:cNvPr id="11" name="Rectangle 25">
            <a:extLst>
              <a:ext uri="{FF2B5EF4-FFF2-40B4-BE49-F238E27FC236}">
                <a16:creationId xmlns:a16="http://schemas.microsoft.com/office/drawing/2014/main" id="{5127426C-17A4-AC06-4DB0-0FF76A1197FD}"/>
              </a:ext>
            </a:extLst>
          </p:cNvPr>
          <p:cNvSpPr/>
          <p:nvPr/>
        </p:nvSpPr>
        <p:spPr>
          <a:xfrm>
            <a:off x="924339" y="3441810"/>
            <a:ext cx="10346637"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Fria samtal och SMS inom Sverige</a:t>
            </a:r>
          </a:p>
        </p:txBody>
      </p:sp>
      <p:sp>
        <p:nvSpPr>
          <p:cNvPr id="12" name="Rectangle 27">
            <a:extLst>
              <a:ext uri="{FF2B5EF4-FFF2-40B4-BE49-F238E27FC236}">
                <a16:creationId xmlns:a16="http://schemas.microsoft.com/office/drawing/2014/main" id="{6BE3BA63-0351-2669-1598-370E1C9A0EAB}"/>
              </a:ext>
            </a:extLst>
          </p:cNvPr>
          <p:cNvSpPr/>
          <p:nvPr/>
        </p:nvSpPr>
        <p:spPr>
          <a:xfrm>
            <a:off x="3458169" y="4628756"/>
            <a:ext cx="229097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5G – 300 Mbit/s</a:t>
            </a:r>
          </a:p>
        </p:txBody>
      </p:sp>
      <p:sp>
        <p:nvSpPr>
          <p:cNvPr id="13" name="Rectangle 28">
            <a:extLst>
              <a:ext uri="{FF2B5EF4-FFF2-40B4-BE49-F238E27FC236}">
                <a16:creationId xmlns:a16="http://schemas.microsoft.com/office/drawing/2014/main" id="{6F31117D-91C9-2592-D688-FA8152C6CFAB}"/>
              </a:ext>
            </a:extLst>
          </p:cNvPr>
          <p:cNvSpPr/>
          <p:nvPr/>
        </p:nvSpPr>
        <p:spPr>
          <a:xfrm>
            <a:off x="6001938" y="4628756"/>
            <a:ext cx="342841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5G – 100 Mbit/s</a:t>
            </a:r>
          </a:p>
        </p:txBody>
      </p:sp>
      <p:sp>
        <p:nvSpPr>
          <p:cNvPr id="14" name="Rectangle 30">
            <a:extLst>
              <a:ext uri="{FF2B5EF4-FFF2-40B4-BE49-F238E27FC236}">
                <a16:creationId xmlns:a16="http://schemas.microsoft.com/office/drawing/2014/main" id="{1F40D49A-E394-660B-F81A-42995CB6E31B}"/>
              </a:ext>
            </a:extLst>
          </p:cNvPr>
          <p:cNvSpPr/>
          <p:nvPr/>
        </p:nvSpPr>
        <p:spPr>
          <a:xfrm>
            <a:off x="3463143" y="5222229"/>
            <a:ext cx="2299112"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100GB EU Surf</a:t>
            </a:r>
          </a:p>
        </p:txBody>
      </p:sp>
      <p:sp>
        <p:nvSpPr>
          <p:cNvPr id="15" name="Rectangle 31">
            <a:extLst>
              <a:ext uri="{FF2B5EF4-FFF2-40B4-BE49-F238E27FC236}">
                <a16:creationId xmlns:a16="http://schemas.microsoft.com/office/drawing/2014/main" id="{3683E414-B71C-EFB9-2749-288DE53A2E27}"/>
              </a:ext>
            </a:extLst>
          </p:cNvPr>
          <p:cNvSpPr/>
          <p:nvPr/>
        </p:nvSpPr>
        <p:spPr>
          <a:xfrm>
            <a:off x="9683166" y="5222229"/>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1GB EU Surf</a:t>
            </a:r>
          </a:p>
        </p:txBody>
      </p:sp>
      <p:sp>
        <p:nvSpPr>
          <p:cNvPr id="16" name="Rectangle 33">
            <a:extLst>
              <a:ext uri="{FF2B5EF4-FFF2-40B4-BE49-F238E27FC236}">
                <a16:creationId xmlns:a16="http://schemas.microsoft.com/office/drawing/2014/main" id="{8021A534-D775-BCAC-554F-22BA72E9A206}"/>
              </a:ext>
            </a:extLst>
          </p:cNvPr>
          <p:cNvSpPr/>
          <p:nvPr/>
        </p:nvSpPr>
        <p:spPr>
          <a:xfrm>
            <a:off x="919374" y="5217694"/>
            <a:ext cx="229097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3Världen Företag</a:t>
            </a:r>
          </a:p>
        </p:txBody>
      </p:sp>
      <p:sp>
        <p:nvSpPr>
          <p:cNvPr id="17" name="Rectangle 34">
            <a:extLst>
              <a:ext uri="{FF2B5EF4-FFF2-40B4-BE49-F238E27FC236}">
                <a16:creationId xmlns:a16="http://schemas.microsoft.com/office/drawing/2014/main" id="{542811EE-7759-A1A5-1E4C-6E9F2B25F5B8}"/>
              </a:ext>
            </a:extLst>
          </p:cNvPr>
          <p:cNvSpPr/>
          <p:nvPr/>
        </p:nvSpPr>
        <p:spPr>
          <a:xfrm>
            <a:off x="924339" y="5815693"/>
            <a:ext cx="2299112"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Datakort ingår*</a:t>
            </a:r>
          </a:p>
        </p:txBody>
      </p:sp>
      <p:sp>
        <p:nvSpPr>
          <p:cNvPr id="18" name="Rectangle 35">
            <a:extLst>
              <a:ext uri="{FF2B5EF4-FFF2-40B4-BE49-F238E27FC236}">
                <a16:creationId xmlns:a16="http://schemas.microsoft.com/office/drawing/2014/main" id="{19123DFA-4945-3C9A-BEB1-61E2BAEF680D}"/>
              </a:ext>
            </a:extLst>
          </p:cNvPr>
          <p:cNvSpPr/>
          <p:nvPr/>
        </p:nvSpPr>
        <p:spPr>
          <a:xfrm>
            <a:off x="3463143" y="5797945"/>
            <a:ext cx="229097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Datakort 69 kr/mån*</a:t>
            </a:r>
          </a:p>
        </p:txBody>
      </p:sp>
      <p:sp>
        <p:nvSpPr>
          <p:cNvPr id="19" name="TextBox 46">
            <a:extLst>
              <a:ext uri="{FF2B5EF4-FFF2-40B4-BE49-F238E27FC236}">
                <a16:creationId xmlns:a16="http://schemas.microsoft.com/office/drawing/2014/main" id="{A179125C-F625-C82B-EB03-B7D03D5E979C}"/>
              </a:ext>
            </a:extLst>
          </p:cNvPr>
          <p:cNvSpPr txBox="1"/>
          <p:nvPr/>
        </p:nvSpPr>
        <p:spPr>
          <a:xfrm>
            <a:off x="924339" y="2673623"/>
            <a:ext cx="2319119" cy="461662"/>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000000"/>
                </a:solidFill>
                <a:uFillTx/>
                <a:latin typeface="HelveticaNeueLT Std"/>
              </a:rPr>
              <a:t>399 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449 kr (utan bindning)</a:t>
            </a:r>
          </a:p>
        </p:txBody>
      </p:sp>
      <p:sp>
        <p:nvSpPr>
          <p:cNvPr id="20" name="TextBox 47">
            <a:extLst>
              <a:ext uri="{FF2B5EF4-FFF2-40B4-BE49-F238E27FC236}">
                <a16:creationId xmlns:a16="http://schemas.microsoft.com/office/drawing/2014/main" id="{2C4D3212-8354-05AC-8308-C38B17128278}"/>
              </a:ext>
            </a:extLst>
          </p:cNvPr>
          <p:cNvSpPr txBox="1"/>
          <p:nvPr/>
        </p:nvSpPr>
        <p:spPr>
          <a:xfrm>
            <a:off x="3430856" y="2688601"/>
            <a:ext cx="2319119" cy="461662"/>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000000"/>
                </a:solidFill>
                <a:uFillTx/>
                <a:latin typeface="HelveticaNeueLT Std"/>
              </a:rPr>
              <a:t>299 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349 kr (utan bindning)</a:t>
            </a:r>
          </a:p>
        </p:txBody>
      </p:sp>
      <p:sp>
        <p:nvSpPr>
          <p:cNvPr id="21" name="TextBox 48">
            <a:extLst>
              <a:ext uri="{FF2B5EF4-FFF2-40B4-BE49-F238E27FC236}">
                <a16:creationId xmlns:a16="http://schemas.microsoft.com/office/drawing/2014/main" id="{A5153EF9-7EE1-F384-DA7F-AEE0F15225BE}"/>
              </a:ext>
            </a:extLst>
          </p:cNvPr>
          <p:cNvSpPr txBox="1"/>
          <p:nvPr/>
        </p:nvSpPr>
        <p:spPr>
          <a:xfrm>
            <a:off x="6001947" y="2670843"/>
            <a:ext cx="1587809" cy="646334"/>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000000"/>
                </a:solidFill>
                <a:uFillTx/>
                <a:latin typeface="HelveticaNeueLT Std"/>
              </a:rPr>
              <a:t>199 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249 kr (utan bindning)</a:t>
            </a:r>
          </a:p>
        </p:txBody>
      </p:sp>
      <p:sp>
        <p:nvSpPr>
          <p:cNvPr id="22" name="Title 4">
            <a:extLst>
              <a:ext uri="{FF2B5EF4-FFF2-40B4-BE49-F238E27FC236}">
                <a16:creationId xmlns:a16="http://schemas.microsoft.com/office/drawing/2014/main" id="{C6B12E76-A50B-3DE7-CF82-58E93B55E1D5}"/>
              </a:ext>
            </a:extLst>
          </p:cNvPr>
          <p:cNvSpPr txBox="1">
            <a:spLocks noGrp="1"/>
          </p:cNvSpPr>
          <p:nvPr>
            <p:ph type="title"/>
          </p:nvPr>
        </p:nvSpPr>
        <p:spPr>
          <a:xfrm>
            <a:off x="924339" y="519086"/>
            <a:ext cx="10585451" cy="900107"/>
          </a:xfrm>
          <a:prstGeom prst="rect">
            <a:avLst/>
          </a:prstGeom>
          <a:noFill/>
          <a:ln>
            <a:noFill/>
          </a:ln>
        </p:spPr>
        <p:txBody>
          <a:bodyPr vert="horz" wrap="square" lIns="0" tIns="0" rIns="0" bIns="0" anchor="t" anchorCtr="0" compatLnSpc="1">
            <a:noAutofit/>
          </a:bodyPr>
          <a:lstStyle/>
          <a:p>
            <a:pPr lvl="0"/>
            <a:r>
              <a:rPr lang="sv-SE" sz="4000"/>
              <a:t>Översikt Mikroportföljen</a:t>
            </a:r>
          </a:p>
        </p:txBody>
      </p:sp>
      <p:sp>
        <p:nvSpPr>
          <p:cNvPr id="23" name="Rectangle: Rounded Corners 6">
            <a:extLst>
              <a:ext uri="{FF2B5EF4-FFF2-40B4-BE49-F238E27FC236}">
                <a16:creationId xmlns:a16="http://schemas.microsoft.com/office/drawing/2014/main" id="{29F566DC-0E54-9BC4-D45E-29F47EAF8D4A}"/>
              </a:ext>
            </a:extLst>
          </p:cNvPr>
          <p:cNvSpPr/>
          <p:nvPr/>
        </p:nvSpPr>
        <p:spPr>
          <a:xfrm>
            <a:off x="9683166" y="1915091"/>
            <a:ext cx="1587809" cy="56652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400" b="1" i="0" u="none" strike="noStrike" kern="1200" cap="none" spc="0" baseline="0">
                <a:solidFill>
                  <a:srgbClr val="000000"/>
                </a:solidFill>
                <a:uFillTx/>
                <a:latin typeface="HelveticaNeueLT Std"/>
              </a:rPr>
              <a:t>3Företag 1GB</a:t>
            </a:r>
          </a:p>
        </p:txBody>
      </p:sp>
      <p:sp>
        <p:nvSpPr>
          <p:cNvPr id="24" name="Rectangle 7">
            <a:extLst>
              <a:ext uri="{FF2B5EF4-FFF2-40B4-BE49-F238E27FC236}">
                <a16:creationId xmlns:a16="http://schemas.microsoft.com/office/drawing/2014/main" id="{C6386A50-6264-81EE-15CC-1217C47C74A2}"/>
              </a:ext>
            </a:extLst>
          </p:cNvPr>
          <p:cNvSpPr/>
          <p:nvPr/>
        </p:nvSpPr>
        <p:spPr>
          <a:xfrm>
            <a:off x="919365" y="4628756"/>
            <a:ext cx="2290974"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800" b="0" i="0" u="none" strike="noStrike" kern="1200" cap="none" spc="0" baseline="0">
                <a:solidFill>
                  <a:srgbClr val="FFFFFF"/>
                </a:solidFill>
                <a:uFillTx/>
                <a:latin typeface="HelveticaNeueLT Std"/>
              </a:rPr>
              <a:t>5G – 1000 Mbit/s</a:t>
            </a:r>
          </a:p>
        </p:txBody>
      </p:sp>
      <p:sp>
        <p:nvSpPr>
          <p:cNvPr id="25" name="Rectangle 8">
            <a:extLst>
              <a:ext uri="{FF2B5EF4-FFF2-40B4-BE49-F238E27FC236}">
                <a16:creationId xmlns:a16="http://schemas.microsoft.com/office/drawing/2014/main" id="{0C6785DD-4EA8-1CE2-B874-695FD84313B6}"/>
              </a:ext>
            </a:extLst>
          </p:cNvPr>
          <p:cNvSpPr/>
          <p:nvPr/>
        </p:nvSpPr>
        <p:spPr>
          <a:xfrm>
            <a:off x="7842552" y="5222229"/>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6GB EU Surf</a:t>
            </a:r>
          </a:p>
        </p:txBody>
      </p:sp>
      <p:sp>
        <p:nvSpPr>
          <p:cNvPr id="26" name="Rectangle 9">
            <a:extLst>
              <a:ext uri="{FF2B5EF4-FFF2-40B4-BE49-F238E27FC236}">
                <a16:creationId xmlns:a16="http://schemas.microsoft.com/office/drawing/2014/main" id="{4F3E0F65-478B-5A4C-700E-5C4B0187AA94}"/>
              </a:ext>
            </a:extLst>
          </p:cNvPr>
          <p:cNvSpPr/>
          <p:nvPr/>
        </p:nvSpPr>
        <p:spPr>
          <a:xfrm>
            <a:off x="6001938" y="5222229"/>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15GB EU Surf</a:t>
            </a:r>
          </a:p>
        </p:txBody>
      </p:sp>
      <p:sp>
        <p:nvSpPr>
          <p:cNvPr id="27" name="Rectangle 10">
            <a:extLst>
              <a:ext uri="{FF2B5EF4-FFF2-40B4-BE49-F238E27FC236}">
                <a16:creationId xmlns:a16="http://schemas.microsoft.com/office/drawing/2014/main" id="{6FD0C016-FA0E-254E-031F-6963DCCCB834}"/>
              </a:ext>
            </a:extLst>
          </p:cNvPr>
          <p:cNvSpPr/>
          <p:nvPr/>
        </p:nvSpPr>
        <p:spPr>
          <a:xfrm>
            <a:off x="6001938" y="4035283"/>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15GB Data</a:t>
            </a:r>
          </a:p>
        </p:txBody>
      </p:sp>
      <p:sp>
        <p:nvSpPr>
          <p:cNvPr id="28" name="Rectangle 11">
            <a:extLst>
              <a:ext uri="{FF2B5EF4-FFF2-40B4-BE49-F238E27FC236}">
                <a16:creationId xmlns:a16="http://schemas.microsoft.com/office/drawing/2014/main" id="{D846D73F-698C-6A46-8B51-CA65FD553ECD}"/>
              </a:ext>
            </a:extLst>
          </p:cNvPr>
          <p:cNvSpPr/>
          <p:nvPr/>
        </p:nvSpPr>
        <p:spPr>
          <a:xfrm>
            <a:off x="7842552" y="4031754"/>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6GB Data</a:t>
            </a:r>
          </a:p>
        </p:txBody>
      </p:sp>
      <p:sp>
        <p:nvSpPr>
          <p:cNvPr id="29" name="Rectangle 12">
            <a:extLst>
              <a:ext uri="{FF2B5EF4-FFF2-40B4-BE49-F238E27FC236}">
                <a16:creationId xmlns:a16="http://schemas.microsoft.com/office/drawing/2014/main" id="{7450AA9D-F78D-4963-7E75-7E308AB34A8C}"/>
              </a:ext>
            </a:extLst>
          </p:cNvPr>
          <p:cNvSpPr/>
          <p:nvPr/>
        </p:nvSpPr>
        <p:spPr>
          <a:xfrm>
            <a:off x="9683166" y="4034213"/>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1GB Data</a:t>
            </a:r>
          </a:p>
        </p:txBody>
      </p:sp>
      <p:sp>
        <p:nvSpPr>
          <p:cNvPr id="30" name="Rectangle 13">
            <a:extLst>
              <a:ext uri="{FF2B5EF4-FFF2-40B4-BE49-F238E27FC236}">
                <a16:creationId xmlns:a16="http://schemas.microsoft.com/office/drawing/2014/main" id="{420EFAFB-F404-3673-101E-CB0981CE67F4}"/>
              </a:ext>
            </a:extLst>
          </p:cNvPr>
          <p:cNvSpPr/>
          <p:nvPr/>
        </p:nvSpPr>
        <p:spPr>
          <a:xfrm>
            <a:off x="9683166" y="4628756"/>
            <a:ext cx="1587809" cy="436534"/>
          </a:xfrm>
          <a:prstGeom prst="rect">
            <a:avLst/>
          </a:prstGeom>
          <a:solidFill>
            <a:srgbClr val="FF9D66"/>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600" b="0" i="0" u="none" strike="noStrike" kern="1200" cap="none" spc="0" baseline="0">
                <a:solidFill>
                  <a:srgbClr val="FFFFFF"/>
                </a:solidFill>
                <a:uFillTx/>
                <a:latin typeface="HelveticaNeueLT Std"/>
              </a:rPr>
              <a:t>5G – 50Mbit/s</a:t>
            </a:r>
          </a:p>
        </p:txBody>
      </p:sp>
      <p:sp>
        <p:nvSpPr>
          <p:cNvPr id="31" name="TextBox 15">
            <a:extLst>
              <a:ext uri="{FF2B5EF4-FFF2-40B4-BE49-F238E27FC236}">
                <a16:creationId xmlns:a16="http://schemas.microsoft.com/office/drawing/2014/main" id="{3E0623F2-74FB-3D2E-BBB8-190AC4A55E24}"/>
              </a:ext>
            </a:extLst>
          </p:cNvPr>
          <p:cNvSpPr txBox="1"/>
          <p:nvPr/>
        </p:nvSpPr>
        <p:spPr>
          <a:xfrm>
            <a:off x="7908407" y="2670843"/>
            <a:ext cx="1587809" cy="646334"/>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000000"/>
                </a:solidFill>
                <a:uFillTx/>
                <a:latin typeface="HelveticaNeueLT Std"/>
              </a:rPr>
              <a:t>149 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199 kr (utan bindning)</a:t>
            </a:r>
          </a:p>
        </p:txBody>
      </p:sp>
      <p:sp>
        <p:nvSpPr>
          <p:cNvPr id="32" name="TextBox 21">
            <a:extLst>
              <a:ext uri="{FF2B5EF4-FFF2-40B4-BE49-F238E27FC236}">
                <a16:creationId xmlns:a16="http://schemas.microsoft.com/office/drawing/2014/main" id="{62383EB5-BFC1-3E77-B0F2-0A86F00505D6}"/>
              </a:ext>
            </a:extLst>
          </p:cNvPr>
          <p:cNvSpPr txBox="1"/>
          <p:nvPr/>
        </p:nvSpPr>
        <p:spPr>
          <a:xfrm>
            <a:off x="9683166" y="2670843"/>
            <a:ext cx="1587809" cy="646334"/>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1" i="0" u="none" strike="noStrike" kern="1200" cap="none" spc="0" baseline="0">
                <a:solidFill>
                  <a:srgbClr val="000000"/>
                </a:solidFill>
                <a:uFillTx/>
                <a:latin typeface="HelveticaNeueLT Std"/>
              </a:rPr>
              <a:t>99 k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0" u="none" strike="noStrike" kern="1200" cap="none" spc="0" baseline="0">
                <a:solidFill>
                  <a:srgbClr val="000000"/>
                </a:solidFill>
                <a:uFillTx/>
                <a:latin typeface="HelveticaNeueLT Std"/>
              </a:rPr>
              <a:t>149 kr (utan bindning)</a:t>
            </a:r>
          </a:p>
        </p:txBody>
      </p:sp>
      <p:sp>
        <p:nvSpPr>
          <p:cNvPr id="33" name="TextBox 32">
            <a:extLst>
              <a:ext uri="{FF2B5EF4-FFF2-40B4-BE49-F238E27FC236}">
                <a16:creationId xmlns:a16="http://schemas.microsoft.com/office/drawing/2014/main" id="{8F14101D-680B-F8DF-FD03-E8C355E55C1A}"/>
              </a:ext>
            </a:extLst>
          </p:cNvPr>
          <p:cNvSpPr txBox="1"/>
          <p:nvPr/>
        </p:nvSpPr>
        <p:spPr>
          <a:xfrm>
            <a:off x="210220" y="6281754"/>
            <a:ext cx="4579808" cy="461662"/>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sv-SE" sz="1200" b="0" i="1" u="none" strike="noStrike" kern="1200" cap="none" spc="0" baseline="0">
                <a:solidFill>
                  <a:srgbClr val="000000"/>
                </a:solidFill>
                <a:uFillTx/>
                <a:latin typeface="HelveticaNeueLT Std"/>
              </a:rPr>
              <a:t>*</a:t>
            </a:r>
            <a:r>
              <a:rPr lang="sv-SE" sz="1200" b="1" i="1" u="none" strike="noStrike" kern="1200" cap="none" spc="0" baseline="0">
                <a:solidFill>
                  <a:srgbClr val="000000"/>
                </a:solidFill>
                <a:uFillTx/>
                <a:latin typeface="HelveticaNeueLT Std"/>
              </a:rPr>
              <a:t>Max 1 datakort per huvudabonnemang, ingår 100GB på datakortet i EU och 5GB i 3Världen på OBG MAX.</a:t>
            </a:r>
          </a:p>
        </p:txBody>
      </p:sp>
      <p:sp>
        <p:nvSpPr>
          <p:cNvPr id="34" name="Rundad rektangulär pratbubbla 33">
            <a:extLst>
              <a:ext uri="{FF2B5EF4-FFF2-40B4-BE49-F238E27FC236}">
                <a16:creationId xmlns:a16="http://schemas.microsoft.com/office/drawing/2014/main" id="{9D0A8759-DED2-8805-3424-2A96B7C12D78}"/>
              </a:ext>
            </a:extLst>
          </p:cNvPr>
          <p:cNvSpPr/>
          <p:nvPr/>
        </p:nvSpPr>
        <p:spPr>
          <a:xfrm>
            <a:off x="6020785" y="6033960"/>
            <a:ext cx="1746552" cy="671168"/>
          </a:xfrm>
          <a:prstGeom prst="wedgeRoundRectCallout">
            <a:avLst>
              <a:gd name="adj1" fmla="val -62717"/>
              <a:gd name="adj2" fmla="val -51301"/>
              <a:gd name="adj3" fmla="val 1666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t>Nu med </a:t>
            </a:r>
          </a:p>
          <a:p>
            <a:pPr algn="ctr"/>
            <a:r>
              <a:rPr lang="sv-SE" sz="1200" dirty="0"/>
              <a:t>100 GB data i EU</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500"/>
                                        <p:tgtEl>
                                          <p:spTgt spid="1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500"/>
                                        <p:tgtEl>
                                          <p:spTgt spid="2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5"/>
                                        </p:tgtEl>
                                        <p:attrNameLst>
                                          <p:attrName>style.visibility</p:attrName>
                                        </p:attrNameLst>
                                      </p:cBhvr>
                                      <p:to>
                                        <p:strVal val="visible"/>
                                      </p:to>
                                    </p:set>
                                    <p:animEffect transition="in" filter="fade">
                                      <p:cBhvr>
                                        <p:cTn id="75" dur="500"/>
                                        <p:tgtEl>
                                          <p:spTgt spid="2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9"/>
                                        </p:tgtEl>
                                        <p:attrNameLst>
                                          <p:attrName>style.visibility</p:attrName>
                                        </p:attrNameLst>
                                      </p:cBhvr>
                                      <p:to>
                                        <p:strVal val="visible"/>
                                      </p:to>
                                    </p:set>
                                    <p:animEffect transition="in" filter="fade">
                                      <p:cBhvr>
                                        <p:cTn id="87" dur="500"/>
                                        <p:tgtEl>
                                          <p:spTgt spid="2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0"/>
                                        </p:tgtEl>
                                        <p:attrNameLst>
                                          <p:attrName>style.visibility</p:attrName>
                                        </p:attrNameLst>
                                      </p:cBhvr>
                                      <p:to>
                                        <p:strVal val="visible"/>
                                      </p:to>
                                    </p:set>
                                    <p:animEffect transition="in" filter="fade">
                                      <p:cBhvr>
                                        <p:cTn id="90" dur="500"/>
                                        <p:tgtEl>
                                          <p:spTgt spid="30"/>
                                        </p:tgtEl>
                                      </p:cBhvr>
                                    </p:animEffect>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34"/>
                                        </p:tgtEl>
                                        <p:attrNameLst>
                                          <p:attrName>style.visibility</p:attrName>
                                        </p:attrNameLst>
                                      </p:cBhvr>
                                      <p:to>
                                        <p:strVal val="visible"/>
                                      </p:to>
                                    </p:set>
                                    <p:anim calcmode="lin" valueType="num">
                                      <p:cBhvr additive="base">
                                        <p:cTn id="95" dur="500" fill="hold"/>
                                        <p:tgtEl>
                                          <p:spTgt spid="34"/>
                                        </p:tgtEl>
                                        <p:attrNameLst>
                                          <p:attrName>ppt_x</p:attrName>
                                        </p:attrNameLst>
                                      </p:cBhvr>
                                      <p:tavLst>
                                        <p:tav tm="0">
                                          <p:val>
                                            <p:strVal val="#ppt_x"/>
                                          </p:val>
                                        </p:tav>
                                        <p:tav tm="100000">
                                          <p:val>
                                            <p:strVal val="#ppt_x"/>
                                          </p:val>
                                        </p:tav>
                                      </p:tavLst>
                                    </p:anim>
                                    <p:anim calcmode="lin" valueType="num">
                                      <p:cBhvr additive="base">
                                        <p:cTn id="9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p:bldP spid="20" grpId="0"/>
      <p:bldP spid="21" grpId="0"/>
      <p:bldP spid="23" grpId="0" animBg="1"/>
      <p:bldP spid="24" grpId="0" animBg="1"/>
      <p:bldP spid="25" grpId="0" animBg="1"/>
      <p:bldP spid="26" grpId="0" animBg="1"/>
      <p:bldP spid="27" grpId="0" animBg="1"/>
      <p:bldP spid="28" grpId="0" animBg="1"/>
      <p:bldP spid="29" grpId="0" animBg="1"/>
      <p:bldP spid="30" grpId="0" animBg="1"/>
      <p:bldP spid="31" grpId="0"/>
      <p:bldP spid="32" grpId="0"/>
      <p:bldP spid="3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C06E5949-49E5-C6B1-D467-2AB252F37822}"/>
              </a:ext>
            </a:extLst>
          </p:cNvPr>
          <p:cNvSpPr>
            <a:spLocks noGrp="1"/>
          </p:cNvSpPr>
          <p:nvPr>
            <p:ph type="title"/>
          </p:nvPr>
        </p:nvSpPr>
        <p:spPr>
          <a:xfrm>
            <a:off x="803276" y="1088502"/>
            <a:ext cx="10585450" cy="900112"/>
          </a:xfrm>
        </p:spPr>
        <p:txBody>
          <a:bodyPr anchor="t">
            <a:normAutofit/>
          </a:bodyPr>
          <a:lstStyle/>
          <a:p>
            <a:r>
              <a:rPr lang="sv-SE" dirty="0"/>
              <a:t>Övergripande affärsregler för Mikroportföljen</a:t>
            </a:r>
          </a:p>
        </p:txBody>
      </p:sp>
      <p:sp>
        <p:nvSpPr>
          <p:cNvPr id="2" name="Platshållare för innehåll 1">
            <a:extLst>
              <a:ext uri="{FF2B5EF4-FFF2-40B4-BE49-F238E27FC236}">
                <a16:creationId xmlns:a16="http://schemas.microsoft.com/office/drawing/2014/main" id="{C5AC5679-40F4-BC22-6D07-1098B6FB7A77}"/>
              </a:ext>
            </a:extLst>
          </p:cNvPr>
          <p:cNvSpPr>
            <a:spLocks noGrp="1"/>
          </p:cNvSpPr>
          <p:nvPr>
            <p:ph idx="1"/>
          </p:nvPr>
        </p:nvSpPr>
        <p:spPr>
          <a:xfrm>
            <a:off x="803276" y="2205038"/>
            <a:ext cx="10333037" cy="3971924"/>
          </a:xfrm>
        </p:spPr>
        <p:txBody>
          <a:bodyPr>
            <a:normAutofit/>
          </a:bodyPr>
          <a:lstStyle/>
          <a:p>
            <a:r>
              <a:rPr lang="sv-SE" dirty="0"/>
              <a:t>Nyteckningar och Förlängningar</a:t>
            </a:r>
          </a:p>
          <a:p>
            <a:r>
              <a:rPr lang="sv-SE" dirty="0"/>
              <a:t>Bindningstider</a:t>
            </a:r>
          </a:p>
          <a:p>
            <a:pPr lvl="1"/>
            <a:r>
              <a:rPr lang="sv-SE" sz="1600" dirty="0"/>
              <a:t>0,  24, 36 på samtliga prisplaner</a:t>
            </a:r>
          </a:p>
          <a:p>
            <a:pPr marL="354013" lvl="1" indent="0">
              <a:buNone/>
            </a:pPr>
            <a:endParaRPr lang="sv-SE" sz="1600" dirty="0"/>
          </a:p>
          <a:p>
            <a:r>
              <a:rPr lang="sv-SE" dirty="0"/>
              <a:t>Tillgängligt med både SIM </a:t>
            </a:r>
            <a:r>
              <a:rPr lang="sv-SE" dirty="0" err="1"/>
              <a:t>Only</a:t>
            </a:r>
            <a:r>
              <a:rPr lang="sv-SE" dirty="0"/>
              <a:t> &amp; Hårdvara</a:t>
            </a:r>
          </a:p>
          <a:p>
            <a:pPr lvl="1"/>
            <a:r>
              <a:rPr lang="sv-SE" sz="1600" dirty="0"/>
              <a:t>DSL – Kommer finnas på 24 &amp; 36mån på utvalda hårdvaror. </a:t>
            </a:r>
          </a:p>
          <a:p>
            <a:pPr lvl="1"/>
            <a:r>
              <a:rPr lang="sv-SE" sz="1600" dirty="0"/>
              <a:t>ISL – Samma förhöjda avgifter som tidigare.</a:t>
            </a:r>
          </a:p>
          <a:p>
            <a:pPr lvl="1"/>
            <a:endParaRPr lang="sv-SE" sz="1600" dirty="0"/>
          </a:p>
          <a:p>
            <a:r>
              <a:rPr lang="sv-SE" dirty="0"/>
              <a:t>Rabatt</a:t>
            </a:r>
          </a:p>
          <a:p>
            <a:pPr lvl="1"/>
            <a:r>
              <a:rPr lang="sv-SE" sz="1600" dirty="0"/>
              <a:t>Bindningstidsrabatt – 50kr på samtliga abonnemang</a:t>
            </a:r>
          </a:p>
          <a:p>
            <a:pPr lvl="1"/>
            <a:r>
              <a:rPr lang="sv-SE" sz="1600" dirty="0"/>
              <a:t>Övriga säljrabatter är kanalspecifika</a:t>
            </a:r>
          </a:p>
        </p:txBody>
      </p:sp>
    </p:spTree>
    <p:extLst>
      <p:ext uri="{BB962C8B-B14F-4D97-AF65-F5344CB8AC3E}">
        <p14:creationId xmlns:p14="http://schemas.microsoft.com/office/powerpoint/2010/main" val="638752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A0A74-E004-4D1C-870B-9F3ADB60FC8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FE10E4-3FF8-6CFF-0927-F6F348B309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think-cell data - do not delete" hidden="1">
                        <a:extLst>
                          <a:ext uri="{FF2B5EF4-FFF2-40B4-BE49-F238E27FC236}">
                            <a16:creationId xmlns:a16="http://schemas.microsoft.com/office/drawing/2014/main" id="{A1FE10E4-3FF8-6CFF-0927-F6F348B309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CE9A20-87AC-0606-A7D9-1F99FC4D93CB}"/>
              </a:ext>
            </a:extLst>
          </p:cNvPr>
          <p:cNvSpPr>
            <a:spLocks noGrp="1"/>
          </p:cNvSpPr>
          <p:nvPr>
            <p:ph type="title"/>
          </p:nvPr>
        </p:nvSpPr>
        <p:spPr>
          <a:xfrm>
            <a:off x="803276" y="705044"/>
            <a:ext cx="10585450" cy="900112"/>
          </a:xfrm>
        </p:spPr>
        <p:txBody>
          <a:bodyPr vert="horz"/>
          <a:lstStyle/>
          <a:p>
            <a:r>
              <a:rPr lang="sv-SE"/>
              <a:t>Vi ska självklart kunna ge bra BTL-erbjudanden!</a:t>
            </a:r>
          </a:p>
        </p:txBody>
      </p:sp>
      <p:graphicFrame>
        <p:nvGraphicFramePr>
          <p:cNvPr id="3" name="Content Placeholder 5">
            <a:extLst>
              <a:ext uri="{FF2B5EF4-FFF2-40B4-BE49-F238E27FC236}">
                <a16:creationId xmlns:a16="http://schemas.microsoft.com/office/drawing/2014/main" id="{CEF2AC73-E7B7-2050-945E-183A1DD8280F}"/>
              </a:ext>
            </a:extLst>
          </p:cNvPr>
          <p:cNvGraphicFramePr>
            <a:graphicFrameLocks/>
          </p:cNvGraphicFramePr>
          <p:nvPr/>
        </p:nvGraphicFramePr>
        <p:xfrm>
          <a:off x="803275" y="2057095"/>
          <a:ext cx="10102851" cy="3170685"/>
        </p:xfrm>
        <a:graphic>
          <a:graphicData uri="http://schemas.openxmlformats.org/drawingml/2006/table">
            <a:tbl>
              <a:tblPr firstRow="1" bandRow="1">
                <a:tableStyleId>{F5AB1C69-6EDB-4FF4-983F-18BD219EF322}</a:tableStyleId>
              </a:tblPr>
              <a:tblGrid>
                <a:gridCol w="1657260">
                  <a:extLst>
                    <a:ext uri="{9D8B030D-6E8A-4147-A177-3AD203B41FA5}">
                      <a16:colId xmlns:a16="http://schemas.microsoft.com/office/drawing/2014/main" val="2936480518"/>
                    </a:ext>
                  </a:extLst>
                </a:gridCol>
                <a:gridCol w="1737444">
                  <a:extLst>
                    <a:ext uri="{9D8B030D-6E8A-4147-A177-3AD203B41FA5}">
                      <a16:colId xmlns:a16="http://schemas.microsoft.com/office/drawing/2014/main" val="4154539065"/>
                    </a:ext>
                  </a:extLst>
                </a:gridCol>
                <a:gridCol w="1729691">
                  <a:extLst>
                    <a:ext uri="{9D8B030D-6E8A-4147-A177-3AD203B41FA5}">
                      <a16:colId xmlns:a16="http://schemas.microsoft.com/office/drawing/2014/main" val="1654588603"/>
                    </a:ext>
                  </a:extLst>
                </a:gridCol>
                <a:gridCol w="1515401">
                  <a:extLst>
                    <a:ext uri="{9D8B030D-6E8A-4147-A177-3AD203B41FA5}">
                      <a16:colId xmlns:a16="http://schemas.microsoft.com/office/drawing/2014/main" val="142894317"/>
                    </a:ext>
                  </a:extLst>
                </a:gridCol>
                <a:gridCol w="1551077">
                  <a:extLst>
                    <a:ext uri="{9D8B030D-6E8A-4147-A177-3AD203B41FA5}">
                      <a16:colId xmlns:a16="http://schemas.microsoft.com/office/drawing/2014/main" val="767881692"/>
                    </a:ext>
                  </a:extLst>
                </a:gridCol>
                <a:gridCol w="1911978">
                  <a:extLst>
                    <a:ext uri="{9D8B030D-6E8A-4147-A177-3AD203B41FA5}">
                      <a16:colId xmlns:a16="http://schemas.microsoft.com/office/drawing/2014/main" val="1428479455"/>
                    </a:ext>
                  </a:extLst>
                </a:gridCol>
              </a:tblGrid>
              <a:tr h="382784">
                <a:tc>
                  <a:txBody>
                    <a:bodyPr/>
                    <a:lstStyle/>
                    <a:p>
                      <a:pPr rtl="0"/>
                      <a:endParaRPr lang="sv-SE" sz="1100"/>
                    </a:p>
                  </a:txBody>
                  <a:tcPr/>
                </a:tc>
                <a:tc>
                  <a:txBody>
                    <a:bodyPr/>
                    <a:lstStyle/>
                    <a:p>
                      <a:pPr rtl="0"/>
                      <a:r>
                        <a:rPr lang="sv-SE" sz="1050"/>
                        <a:t>OBG Max – </a:t>
                      </a:r>
                      <a:r>
                        <a:rPr lang="sv-SE" sz="1100"/>
                        <a:t>399kr</a:t>
                      </a:r>
                      <a:endParaRPr lang="sv-SE" sz="1050"/>
                    </a:p>
                  </a:txBody>
                  <a:tcPr/>
                </a:tc>
                <a:tc>
                  <a:txBody>
                    <a:bodyPr/>
                    <a:lstStyle/>
                    <a:p>
                      <a:pPr rtl="0"/>
                      <a:r>
                        <a:rPr lang="sv-SE" sz="1050"/>
                        <a:t>Obg – </a:t>
                      </a:r>
                      <a:r>
                        <a:rPr lang="sv-SE" sz="1100"/>
                        <a:t>299kr</a:t>
                      </a:r>
                      <a:endParaRPr lang="sv-SE" sz="1050"/>
                    </a:p>
                  </a:txBody>
                  <a:tcPr/>
                </a:tc>
                <a:tc>
                  <a:txBody>
                    <a:bodyPr/>
                    <a:lstStyle/>
                    <a:p>
                      <a:pPr rtl="0"/>
                      <a:r>
                        <a:rPr lang="sv-SE" sz="1050"/>
                        <a:t>15GB – </a:t>
                      </a:r>
                      <a:r>
                        <a:rPr lang="sv-SE" sz="1100"/>
                        <a:t>199kr</a:t>
                      </a:r>
                      <a:endParaRPr lang="sv-SE" sz="1050"/>
                    </a:p>
                  </a:txBody>
                  <a:tcPr/>
                </a:tc>
                <a:tc>
                  <a:txBody>
                    <a:bodyPr/>
                    <a:lstStyle/>
                    <a:p>
                      <a:pPr rtl="0"/>
                      <a:r>
                        <a:rPr lang="sv-SE" sz="1050"/>
                        <a:t>6GB – </a:t>
                      </a:r>
                      <a:r>
                        <a:rPr lang="sv-SE" sz="1100"/>
                        <a:t>149kr</a:t>
                      </a:r>
                      <a:endParaRPr lang="sv-SE" sz="1050"/>
                    </a:p>
                  </a:txBody>
                  <a:tcPr/>
                </a:tc>
                <a:tc>
                  <a:txBody>
                    <a:bodyPr/>
                    <a:lstStyle/>
                    <a:p>
                      <a:pPr rtl="0"/>
                      <a:r>
                        <a:rPr lang="sv-SE" sz="1050"/>
                        <a:t>1GB – </a:t>
                      </a:r>
                      <a:r>
                        <a:rPr lang="sv-SE" sz="1100"/>
                        <a:t>99kr</a:t>
                      </a:r>
                      <a:endParaRPr lang="sv-SE" sz="1050"/>
                    </a:p>
                  </a:txBody>
                  <a:tcPr/>
                </a:tc>
                <a:extLst>
                  <a:ext uri="{0D108BD9-81ED-4DB2-BD59-A6C34878D82A}">
                    <a16:rowId xmlns:a16="http://schemas.microsoft.com/office/drawing/2014/main" val="1216539820"/>
                  </a:ext>
                </a:extLst>
              </a:tr>
              <a:tr h="607951">
                <a:tc>
                  <a:txBody>
                    <a:bodyPr/>
                    <a:lstStyle/>
                    <a:p>
                      <a:pPr rtl="0"/>
                      <a:r>
                        <a:rPr lang="sv-SE" sz="1050" b="1" noProof="0"/>
                        <a:t>Nyteckningar/GA 24mån</a:t>
                      </a:r>
                    </a:p>
                  </a:txBody>
                  <a:tcPr/>
                </a:tc>
                <a:tc>
                  <a:txBody>
                    <a:bodyPr/>
                    <a:lstStyle/>
                    <a:p>
                      <a:pPr rtl="0"/>
                      <a:r>
                        <a:rPr lang="sv-SE" sz="1050" noProof="0"/>
                        <a:t>50/100 kr </a:t>
                      </a:r>
                      <a:r>
                        <a:rPr lang="sv-SE" sz="1050" b="1" noProof="0"/>
                        <a:t>ELLER</a:t>
                      </a:r>
                    </a:p>
                    <a:p>
                      <a:pPr rtl="0"/>
                      <a:r>
                        <a:rPr lang="sv-SE" sz="1050" noProof="0"/>
                        <a:t>100% 1, 2, 3 mån</a:t>
                      </a:r>
                    </a:p>
                    <a:p>
                      <a:pPr rtl="0"/>
                      <a:r>
                        <a:rPr lang="sv-SE" sz="1050" noProof="0"/>
                        <a:t>50% provisionsavdrag</a:t>
                      </a:r>
                    </a:p>
                  </a:txBody>
                  <a:tcPr/>
                </a:tc>
                <a:tc>
                  <a:txBody>
                    <a:bodyPr/>
                    <a:lstStyle/>
                    <a:p>
                      <a:pPr rtl="0"/>
                      <a:r>
                        <a:rPr lang="sv-SE" sz="1050" noProof="0"/>
                        <a:t>50/90 kr </a:t>
                      </a:r>
                      <a:r>
                        <a:rPr lang="sv-SE" sz="1050" b="1" noProof="0"/>
                        <a:t>ELLER</a:t>
                      </a:r>
                    </a:p>
                    <a:p>
                      <a:pPr rtl="0"/>
                      <a:r>
                        <a:rPr lang="sv-SE" sz="1050" noProof="0"/>
                        <a:t>100% 1, 2, 3 mån</a:t>
                      </a:r>
                      <a:br>
                        <a:rPr lang="sv-SE" sz="1050" noProof="0"/>
                      </a:br>
                      <a:r>
                        <a:rPr lang="sv-SE" sz="1050" noProof="0"/>
                        <a:t>50% provisionsavdrag</a:t>
                      </a:r>
                    </a:p>
                  </a:txBody>
                  <a:tcPr/>
                </a:tc>
                <a:tc>
                  <a:txBody>
                    <a:bodyPr/>
                    <a:lstStyle/>
                    <a:p>
                      <a:pPr rtl="0"/>
                      <a:r>
                        <a:rPr lang="sv-SE" sz="1050" noProof="0"/>
                        <a:t>20/40 kr </a:t>
                      </a:r>
                      <a:r>
                        <a:rPr lang="sv-SE" sz="1050" b="1" noProof="0"/>
                        <a:t>ELLER</a:t>
                      </a:r>
                    </a:p>
                    <a:p>
                      <a:pPr rtl="0"/>
                      <a:r>
                        <a:rPr lang="sv-SE" sz="1050" noProof="0"/>
                        <a:t>100% 1, 2, 3 mån</a:t>
                      </a:r>
                    </a:p>
                    <a:p>
                      <a:pPr rtl="0"/>
                      <a:r>
                        <a:rPr lang="sv-SE" sz="1050" noProof="0"/>
                        <a:t>50% provisionsavdrag</a:t>
                      </a:r>
                    </a:p>
                  </a:txBody>
                  <a:tcPr/>
                </a:tc>
                <a:tc>
                  <a:txBody>
                    <a:bodyPr/>
                    <a:lstStyle/>
                    <a:p>
                      <a:pPr rtl="0"/>
                      <a:r>
                        <a:rPr lang="sv-SE" sz="1050" noProof="0"/>
                        <a:t>20/40 kr </a:t>
                      </a:r>
                      <a:r>
                        <a:rPr lang="sv-SE" sz="1050" b="1" noProof="0"/>
                        <a:t>ELLER</a:t>
                      </a:r>
                    </a:p>
                    <a:p>
                      <a:pPr rtl="0"/>
                      <a:r>
                        <a:rPr lang="sv-SE" sz="1050" noProof="0"/>
                        <a:t>100% 1, 2, 3 mån</a:t>
                      </a:r>
                      <a:br>
                        <a:rPr lang="sv-SE" sz="1050" noProof="0"/>
                      </a:br>
                      <a:r>
                        <a:rPr lang="sv-SE" sz="1050" noProof="0"/>
                        <a:t>50% provisionsavdrag</a:t>
                      </a:r>
                    </a:p>
                  </a:txBody>
                  <a:tcPr/>
                </a:tc>
                <a:tc>
                  <a:txBody>
                    <a:bodyPr/>
                    <a:lstStyle/>
                    <a:p>
                      <a:pPr rtl="0"/>
                      <a:r>
                        <a:rPr lang="sv-SE" sz="1050" noProof="0"/>
                        <a:t>10 kr </a:t>
                      </a:r>
                      <a:r>
                        <a:rPr lang="sv-SE" sz="1050" b="1" noProof="0"/>
                        <a:t>ELLER</a:t>
                      </a:r>
                    </a:p>
                    <a:p>
                      <a:pPr rtl="0"/>
                      <a:r>
                        <a:rPr lang="sv-SE" sz="1050" noProof="0"/>
                        <a:t>100% 1, 2, 3 mån</a:t>
                      </a:r>
                      <a:br>
                        <a:rPr lang="sv-SE" sz="1050" noProof="0"/>
                      </a:br>
                      <a:r>
                        <a:rPr lang="sv-SE" sz="1050" noProof="0"/>
                        <a:t>50% provisionsavdrag </a:t>
                      </a:r>
                    </a:p>
                  </a:txBody>
                  <a:tcPr/>
                </a:tc>
                <a:extLst>
                  <a:ext uri="{0D108BD9-81ED-4DB2-BD59-A6C34878D82A}">
                    <a16:rowId xmlns:a16="http://schemas.microsoft.com/office/drawing/2014/main" val="3335229211"/>
                  </a:ext>
                </a:extLst>
              </a:tr>
              <a:tr h="607951">
                <a:tc>
                  <a:txBody>
                    <a:bodyPr/>
                    <a:lstStyle/>
                    <a:p>
                      <a:pPr rtl="0"/>
                      <a:r>
                        <a:rPr lang="sv-SE" sz="1050" b="1" noProof="0"/>
                        <a:t>Förlängningar/ RET 24mån</a:t>
                      </a:r>
                    </a:p>
                  </a:txBody>
                  <a:tcPr/>
                </a:tc>
                <a:tc>
                  <a:txBody>
                    <a:bodyPr/>
                    <a:lstStyle/>
                    <a:p>
                      <a:pPr rtl="0"/>
                      <a:r>
                        <a:rPr lang="sv-SE" sz="1050" noProof="0"/>
                        <a:t>50/100 kr</a:t>
                      </a:r>
                    </a:p>
                  </a:txBody>
                  <a:tcPr/>
                </a:tc>
                <a:tc>
                  <a:txBody>
                    <a:bodyPr/>
                    <a:lstStyle/>
                    <a:p>
                      <a:pPr rtl="0"/>
                      <a:r>
                        <a:rPr lang="sv-SE" sz="1050" noProof="0"/>
                        <a:t>50/90 kr</a:t>
                      </a:r>
                      <a:br>
                        <a:rPr lang="sv-SE" sz="1050" noProof="0"/>
                      </a:br>
                      <a:endParaRPr lang="sv-SE" sz="1050" noProof="0"/>
                    </a:p>
                  </a:txBody>
                  <a:tcPr/>
                </a:tc>
                <a:tc>
                  <a:txBody>
                    <a:bodyPr/>
                    <a:lstStyle/>
                    <a:p>
                      <a:pPr rtl="0"/>
                      <a:r>
                        <a:rPr lang="sv-SE" sz="1050" noProof="0"/>
                        <a:t>20/40 kr</a:t>
                      </a:r>
                      <a:br>
                        <a:rPr lang="sv-SE" sz="1050" noProof="0"/>
                      </a:br>
                      <a:endParaRPr lang="sv-SE" sz="1050" noProof="0"/>
                    </a:p>
                  </a:txBody>
                  <a:tcPr/>
                </a:tc>
                <a:tc>
                  <a:txBody>
                    <a:bodyPr/>
                    <a:lstStyle/>
                    <a:p>
                      <a:pPr rtl="0"/>
                      <a:r>
                        <a:rPr lang="sv-SE" sz="1050" noProof="0"/>
                        <a:t>20/40 kr</a:t>
                      </a:r>
                      <a:br>
                        <a:rPr lang="sv-SE" sz="1050" noProof="0"/>
                      </a:br>
                      <a:endParaRPr lang="sv-SE" sz="1050" noProof="0"/>
                    </a:p>
                  </a:txBody>
                  <a:tcPr/>
                </a:tc>
                <a:tc>
                  <a:txBody>
                    <a:bodyPr/>
                    <a:lstStyle/>
                    <a:p>
                      <a:pPr rtl="0"/>
                      <a:r>
                        <a:rPr lang="sv-SE" sz="1050" noProof="0"/>
                        <a:t>10 kr</a:t>
                      </a:r>
                      <a:br>
                        <a:rPr lang="sv-SE" sz="1050" noProof="0"/>
                      </a:br>
                      <a:endParaRPr lang="sv-SE" sz="1050" noProof="0"/>
                    </a:p>
                  </a:txBody>
                  <a:tcPr/>
                </a:tc>
                <a:extLst>
                  <a:ext uri="{0D108BD9-81ED-4DB2-BD59-A6C34878D82A}">
                    <a16:rowId xmlns:a16="http://schemas.microsoft.com/office/drawing/2014/main" val="3447051251"/>
                  </a:ext>
                </a:extLst>
              </a:tr>
              <a:tr h="1080802">
                <a:tc>
                  <a:txBody>
                    <a:bodyPr/>
                    <a:lstStyle/>
                    <a:p>
                      <a:pPr rtl="0"/>
                      <a:r>
                        <a:rPr lang="sv-SE" sz="1050" b="1" noProof="0"/>
                        <a:t>RET/GA verktyg för kunder med 36mån</a:t>
                      </a:r>
                    </a:p>
                  </a:txBody>
                  <a:tcPr/>
                </a:tc>
                <a:tc>
                  <a:txBody>
                    <a:bodyPr/>
                    <a:lstStyle/>
                    <a:p>
                      <a:pPr rtl="0"/>
                      <a:r>
                        <a:rPr lang="sv-SE" sz="1050" noProof="0"/>
                        <a:t>50/100/120 kr</a:t>
                      </a:r>
                    </a:p>
                  </a:txBody>
                  <a:tcPr/>
                </a:tc>
                <a:tc>
                  <a:txBody>
                    <a:bodyPr/>
                    <a:lstStyle/>
                    <a:p>
                      <a:pPr rtl="0"/>
                      <a:r>
                        <a:rPr lang="sv-SE" sz="1050" noProof="0"/>
                        <a:t>50/90/100 k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50" noProof="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50" noProof="0"/>
                        <a:t>-</a:t>
                      </a:r>
                    </a:p>
                  </a:txBody>
                  <a:tcPr/>
                </a:tc>
                <a:tc>
                  <a:txBody>
                    <a:bodyPr/>
                    <a:lstStyle/>
                    <a:p>
                      <a:pPr rtl="0"/>
                      <a:r>
                        <a:rPr lang="sv-SE" sz="1050" noProof="0"/>
                        <a:t>-</a:t>
                      </a:r>
                    </a:p>
                  </a:txBody>
                  <a:tcPr/>
                </a:tc>
                <a:extLst>
                  <a:ext uri="{0D108BD9-81ED-4DB2-BD59-A6C34878D82A}">
                    <a16:rowId xmlns:a16="http://schemas.microsoft.com/office/drawing/2014/main" val="783874795"/>
                  </a:ext>
                </a:extLst>
              </a:tr>
              <a:tr h="491197">
                <a:tc>
                  <a:txBody>
                    <a:bodyPr/>
                    <a:lstStyle/>
                    <a:p>
                      <a:pPr rtl="0"/>
                      <a:endParaRPr lang="sv-SE" sz="1050" b="1"/>
                    </a:p>
                  </a:txBody>
                  <a:tcPr/>
                </a:tc>
                <a:tc>
                  <a:txBody>
                    <a:bodyPr/>
                    <a:lstStyle/>
                    <a:p>
                      <a:pPr rtl="0"/>
                      <a:endParaRPr lang="sv-SE" sz="1000"/>
                    </a:p>
                  </a:txBody>
                  <a:tcPr/>
                </a:tc>
                <a:tc>
                  <a:txBody>
                    <a:bodyPr/>
                    <a:lstStyle/>
                    <a:p>
                      <a:pPr rtl="0"/>
                      <a:endParaRPr lang="sv-SE"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p>
                  </a:txBody>
                  <a:tcPr/>
                </a:tc>
                <a:extLst>
                  <a:ext uri="{0D108BD9-81ED-4DB2-BD59-A6C34878D82A}">
                    <a16:rowId xmlns:a16="http://schemas.microsoft.com/office/drawing/2014/main" val="2714337631"/>
                  </a:ext>
                </a:extLst>
              </a:tr>
            </a:tbl>
          </a:graphicData>
        </a:graphic>
      </p:graphicFrame>
      <p:sp>
        <p:nvSpPr>
          <p:cNvPr id="5" name="Rectangle 4">
            <a:extLst>
              <a:ext uri="{FF2B5EF4-FFF2-40B4-BE49-F238E27FC236}">
                <a16:creationId xmlns:a16="http://schemas.microsoft.com/office/drawing/2014/main" id="{23C6FA72-8BAA-F314-80F7-3FAC1C3182A2}"/>
              </a:ext>
            </a:extLst>
          </p:cNvPr>
          <p:cNvSpPr/>
          <p:nvPr/>
        </p:nvSpPr>
        <p:spPr>
          <a:xfrm>
            <a:off x="803275" y="5227781"/>
            <a:ext cx="10102851" cy="1042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accent1"/>
                </a:solidFill>
              </a:rPr>
              <a:t>Rabatterna kommer gälla med SIM-</a:t>
            </a:r>
            <a:r>
              <a:rPr lang="sv-SE" err="1">
                <a:solidFill>
                  <a:schemeClr val="accent1"/>
                </a:solidFill>
              </a:rPr>
              <a:t>only</a:t>
            </a:r>
            <a:r>
              <a:rPr lang="sv-SE">
                <a:solidFill>
                  <a:schemeClr val="accent1"/>
                </a:solidFill>
              </a:rPr>
              <a:t> och Hårdvara. Hårdvara kommer ha en förvald rabatt om -50kr när den är bundlad (endast för 3Företag Obegränsad &amp; 3Företag Obegränsad Max) Sedan kan man välja att använda högre rabatt-satser mot provisionsavdrag likt för SIM-</a:t>
            </a:r>
            <a:r>
              <a:rPr lang="sv-SE" err="1">
                <a:solidFill>
                  <a:schemeClr val="accent1"/>
                </a:solidFill>
              </a:rPr>
              <a:t>only</a:t>
            </a:r>
            <a:r>
              <a:rPr lang="sv-SE">
                <a:solidFill>
                  <a:schemeClr val="accent1"/>
                </a:solidFill>
              </a:rPr>
              <a:t>. </a:t>
            </a:r>
          </a:p>
        </p:txBody>
      </p:sp>
    </p:spTree>
    <p:extLst>
      <p:ext uri="{BB962C8B-B14F-4D97-AF65-F5344CB8AC3E}">
        <p14:creationId xmlns:p14="http://schemas.microsoft.com/office/powerpoint/2010/main" val="2924566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ZKEfBdrYnSkPFbjO0.d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e Företag">
  <a:themeElements>
    <a:clrScheme name="Tre 2021">
      <a:dk1>
        <a:sysClr val="windowText" lastClr="000000"/>
      </a:dk1>
      <a:lt1>
        <a:sysClr val="window" lastClr="FFFFFF"/>
      </a:lt1>
      <a:dk2>
        <a:srgbClr val="5F5F5F"/>
      </a:dk2>
      <a:lt2>
        <a:srgbClr val="F2F2F2"/>
      </a:lt2>
      <a:accent1>
        <a:srgbClr val="FF5C00"/>
      </a:accent1>
      <a:accent2>
        <a:srgbClr val="FA208F"/>
      </a:accent2>
      <a:accent3>
        <a:srgbClr val="FFB000"/>
      </a:accent3>
      <a:accent4>
        <a:srgbClr val="00CA46"/>
      </a:accent4>
      <a:accent5>
        <a:srgbClr val="0040DA"/>
      </a:accent5>
      <a:accent6>
        <a:srgbClr val="5900CA"/>
      </a:accent6>
      <a:hlink>
        <a:srgbClr val="FA208F"/>
      </a:hlink>
      <a:folHlink>
        <a:srgbClr val="FA208F"/>
      </a:folHlink>
    </a:clrScheme>
    <a:fontScheme name="Tre HelveticaNeue">
      <a:majorFont>
        <a:latin typeface="HelveticaNeueLT Std"/>
        <a:ea typeface=""/>
        <a:cs typeface=""/>
      </a:majorFont>
      <a:minorFont>
        <a:latin typeface="HelveticaNeueLT St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Tre mall.potx" id="{722A8B1B-A199-4563-B937-FF16183DC266}" vid="{BD442CAF-82BF-4B6A-A7AB-56E4DEDF80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ED979B981ACE04CA08FE7E30BF5367D" ma:contentTypeVersion="11" ma:contentTypeDescription="Skapa ett nytt dokument." ma:contentTypeScope="" ma:versionID="d06e86a0bc2b1cdba1e146da1fe81c86">
  <xsd:schema xmlns:xsd="http://www.w3.org/2001/XMLSchema" xmlns:xs="http://www.w3.org/2001/XMLSchema" xmlns:p="http://schemas.microsoft.com/office/2006/metadata/properties" xmlns:ns2="3e89dc24-b40c-4327-a24c-ce723bfd06c2" xmlns:ns3="383bf28d-6555-4d80-bda9-6fd688194acb" targetNamespace="http://schemas.microsoft.com/office/2006/metadata/properties" ma:root="true" ma:fieldsID="b28e5a5760a7d2cb8eb1d4935d5a569a" ns2:_="" ns3:_="">
    <xsd:import namespace="3e89dc24-b40c-4327-a24c-ce723bfd06c2"/>
    <xsd:import namespace="383bf28d-6555-4d80-bda9-6fd688194ac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89dc24-b40c-4327-a24c-ce723bfd06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eringar" ma:readOnly="false" ma:fieldId="{5cf76f15-5ced-4ddc-b409-7134ff3c332f}" ma:taxonomyMulti="true" ma:sspId="35c4fc3f-252d-47c6-86d6-80ea19a82de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83bf28d-6555-4d80-bda9-6fd688194ac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928d265-337a-4b99-a227-7ab3127decf7}" ma:internalName="TaxCatchAll" ma:showField="CatchAllData" ma:web="383bf28d-6555-4d80-bda9-6fd688194ac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83bf28d-6555-4d80-bda9-6fd688194acb" xsi:nil="true"/>
    <lcf76f155ced4ddcb4097134ff3c332f xmlns="3e89dc24-b40c-4327-a24c-ce723bfd06c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CEBAD6A-AFE5-46E0-9A90-AF4AB80FFBEE}">
  <ds:schemaRefs>
    <ds:schemaRef ds:uri="http://schemas.microsoft.com/sharepoint/v3/contenttype/forms"/>
  </ds:schemaRefs>
</ds:datastoreItem>
</file>

<file path=customXml/itemProps2.xml><?xml version="1.0" encoding="utf-8"?>
<ds:datastoreItem xmlns:ds="http://schemas.openxmlformats.org/officeDocument/2006/customXml" ds:itemID="{69E4B747-426B-4AD1-A48E-915F030569B1}"/>
</file>

<file path=customXml/itemProps3.xml><?xml version="1.0" encoding="utf-8"?>
<ds:datastoreItem xmlns:ds="http://schemas.openxmlformats.org/officeDocument/2006/customXml" ds:itemID="{D4ABDA6A-1F6C-4B42-8544-08E5AE6AC91F}">
  <ds:schemaRefs>
    <ds:schemaRef ds:uri="17798c2e-8ec6-411a-92bf-42cada8c53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554</TotalTime>
  <Words>2347</Words>
  <Application>Microsoft Office PowerPoint</Application>
  <PresentationFormat>Bredbild</PresentationFormat>
  <Paragraphs>577</Paragraphs>
  <Slides>28</Slides>
  <Notes>11</Notes>
  <HiddenSlides>1</HiddenSlides>
  <MMClips>0</MMClips>
  <ScaleCrop>false</ScaleCrop>
  <HeadingPairs>
    <vt:vector size="4" baseType="variant">
      <vt:variant>
        <vt:lpstr>Tema</vt:lpstr>
      </vt:variant>
      <vt:variant>
        <vt:i4>1</vt:i4>
      </vt:variant>
      <vt:variant>
        <vt:lpstr>Bildrubriker</vt:lpstr>
      </vt:variant>
      <vt:variant>
        <vt:i4>28</vt:i4>
      </vt:variant>
    </vt:vector>
  </HeadingPairs>
  <TitlesOfParts>
    <vt:vector size="29" baseType="lpstr">
      <vt:lpstr>Tre Företag</vt:lpstr>
      <vt:lpstr>Välkomna! </vt:lpstr>
      <vt:lpstr>Ny Voice- och Bredbandsportfölj B2B</vt:lpstr>
      <vt:lpstr>Agenda</vt:lpstr>
      <vt:lpstr>Mikroportfölj 0-9</vt:lpstr>
      <vt:lpstr>Det blir mindre förändringar i den ”nya” standardportföljen</vt:lpstr>
      <vt:lpstr>De nya priserna speglar värdet och innehållet i våra produkter samtidigt som vi fortfarande behåller vår position som mest prisvärda</vt:lpstr>
      <vt:lpstr>Översikt Mikroportföljen</vt:lpstr>
      <vt:lpstr>Övergripande affärsregler för Mikroportföljen</vt:lpstr>
      <vt:lpstr>Vi ska självklart kunna ge bra BTL-erbjudanden!</vt:lpstr>
      <vt:lpstr>ÅF Mandat Voice</vt:lpstr>
      <vt:lpstr>Ramavtalsportföljen – Voice</vt:lpstr>
      <vt:lpstr>Det blir mindre förändringar i ramavtalsportföljen </vt:lpstr>
      <vt:lpstr>PowerPoint-presentation</vt:lpstr>
      <vt:lpstr>PowerPoint-presentation</vt:lpstr>
      <vt:lpstr>Översikt ramavtalsportföljen</vt:lpstr>
      <vt:lpstr>Mejl och landningssida</vt:lpstr>
      <vt:lpstr>FAQ</vt:lpstr>
      <vt:lpstr>Våra prislistor</vt:lpstr>
      <vt:lpstr>Bredband</vt:lpstr>
      <vt:lpstr>Bakgrund – Bredband</vt:lpstr>
      <vt:lpstr>Vi går från en portfölj till en tydlig uppdelning mellan den vanliga portföljen och RAM  Mikro</vt:lpstr>
      <vt:lpstr>Översikt bredbandsportföljen - Mikro</vt:lpstr>
      <vt:lpstr>ÅF Mandat Bredband - Mikro</vt:lpstr>
      <vt:lpstr>Affärsregler</vt:lpstr>
      <vt:lpstr>Översikt bredbandsportföljen – RAM</vt:lpstr>
      <vt:lpstr>Competitor analysis – New Portfolio</vt:lpstr>
      <vt:lpstr>Testa oss! </vt:lpstr>
      <vt:lpstr>Frågo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old sida, visas inte vid utskrift </dc:title>
  <dc:creator>Thomas Truong</dc:creator>
  <cp:lastModifiedBy>Binan Al Attar</cp:lastModifiedBy>
  <cp:revision>3</cp:revision>
  <dcterms:created xsi:type="dcterms:W3CDTF">2024-08-19T12:34:34Z</dcterms:created>
  <dcterms:modified xsi:type="dcterms:W3CDTF">2024-08-20T15:2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D979B981ACE04CA08FE7E30BF5367D</vt:lpwstr>
  </property>
  <property fmtid="{D5CDD505-2E9C-101B-9397-08002B2CF9AE}" pid="3" name="Order">
    <vt:r8>1667400</vt:r8>
  </property>
</Properties>
</file>